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0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3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6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7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9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0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1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3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4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800" r:id="rId5"/>
    <p:sldMasterId id="2147484037" r:id="rId6"/>
    <p:sldMasterId id="2147484052" r:id="rId7"/>
    <p:sldMasterId id="2147484069" r:id="rId8"/>
  </p:sldMasterIdLst>
  <p:notesMasterIdLst>
    <p:notesMasterId r:id="rId38"/>
  </p:notesMasterIdLst>
  <p:sldIdLst>
    <p:sldId id="1931" r:id="rId9"/>
    <p:sldId id="1365" r:id="rId10"/>
    <p:sldId id="1885" r:id="rId11"/>
    <p:sldId id="1886" r:id="rId12"/>
    <p:sldId id="1887" r:id="rId13"/>
    <p:sldId id="1906" r:id="rId14"/>
    <p:sldId id="1892" r:id="rId15"/>
    <p:sldId id="1907" r:id="rId16"/>
    <p:sldId id="1908" r:id="rId17"/>
    <p:sldId id="1909" r:id="rId18"/>
    <p:sldId id="1910" r:id="rId19"/>
    <p:sldId id="1911" r:id="rId20"/>
    <p:sldId id="1912" r:id="rId21"/>
    <p:sldId id="1913" r:id="rId22"/>
    <p:sldId id="1914" r:id="rId23"/>
    <p:sldId id="1915" r:id="rId24"/>
    <p:sldId id="1916" r:id="rId25"/>
    <p:sldId id="1924" r:id="rId26"/>
    <p:sldId id="1917" r:id="rId27"/>
    <p:sldId id="1925" r:id="rId28"/>
    <p:sldId id="1926" r:id="rId29"/>
    <p:sldId id="1918" r:id="rId30"/>
    <p:sldId id="1927" r:id="rId31"/>
    <p:sldId id="1928" r:id="rId32"/>
    <p:sldId id="1929" r:id="rId33"/>
    <p:sldId id="1919" r:id="rId34"/>
    <p:sldId id="1933" r:id="rId35"/>
    <p:sldId id="1934" r:id="rId36"/>
    <p:sldId id="1932" r:id="rId37"/>
  </p:sldIdLst>
  <p:sldSz cx="16002000" cy="9001125"/>
  <p:notesSz cx="6858000" cy="9144000"/>
  <p:custDataLst>
    <p:tags r:id="rId39"/>
  </p:custDataLst>
  <p:defaultTextStyle>
    <a:defPPr>
      <a:defRPr lang="es-CL"/>
    </a:defPPr>
    <a:lvl1pPr marL="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RQzSafh3vyF32rbwtvRdlw==" hashData="oABKEgVRHyN5p9n0aPVQ802sE/6JW72wLC1AmJahNm0tY1AfW+JqsKStjqa5mSzj6q3zynRAQz5Xd31OG6VsvQ=="/>
  <p:extLst>
    <p:ext uri="{EFAFB233-063F-42B5-8137-9DF3F51BA10A}">
      <p15:sldGuideLst xmlns:p15="http://schemas.microsoft.com/office/powerpoint/2012/main">
        <p15:guide id="8" pos="5040" userDrawn="1">
          <p15:clr>
            <a:srgbClr val="A4A3A4"/>
          </p15:clr>
        </p15:guide>
        <p15:guide id="9" pos="9712" userDrawn="1">
          <p15:clr>
            <a:srgbClr val="A4A3A4"/>
          </p15:clr>
        </p15:guide>
        <p15:guide id="10" pos="549" userDrawn="1">
          <p15:clr>
            <a:srgbClr val="A4A3A4"/>
          </p15:clr>
        </p15:guide>
        <p15:guide id="11" orient="horz" pos="2835">
          <p15:clr>
            <a:srgbClr val="A4A3A4"/>
          </p15:clr>
        </p15:guide>
        <p15:guide id="12" pos="481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4C"/>
    <a:srgbClr val="83B827"/>
    <a:srgbClr val="0C662F"/>
    <a:srgbClr val="8D004C"/>
    <a:srgbClr val="179188"/>
    <a:srgbClr val="004B54"/>
    <a:srgbClr val="004D53"/>
    <a:srgbClr val="00B050"/>
    <a:srgbClr val="FFCC99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37" autoAdjust="0"/>
    <p:restoredTop sz="90303" autoAdjust="0"/>
  </p:normalViewPr>
  <p:slideViewPr>
    <p:cSldViewPr>
      <p:cViewPr varScale="1">
        <p:scale>
          <a:sx n="53" d="100"/>
          <a:sy n="53" d="100"/>
        </p:scale>
        <p:origin x="256" y="60"/>
      </p:cViewPr>
      <p:guideLst>
        <p:guide pos="5040"/>
        <p:guide pos="9712"/>
        <p:guide pos="549"/>
        <p:guide orient="horz" pos="2835"/>
        <p:guide pos="4813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7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22-01-2025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2009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4018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6027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8036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0045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2054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4063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60720" algn="l" defTabSz="144018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33961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4389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6581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5260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82535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988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476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28223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32466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1761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1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4951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96872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0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091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1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56175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2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87953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59038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403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45416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2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7502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3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53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4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2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5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9569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6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1179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7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6492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8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3097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66D50BD5-19AB-4EED-8D66-56BE71A9253E}" type="slidenum">
              <a:rPr lang="es-CL" smtClean="0">
                <a:solidFill>
                  <a:prstClr val="black"/>
                </a:solidFill>
                <a:cs typeface="Arial"/>
                <a:sym typeface="Arial"/>
              </a:rPr>
              <a:pPr defTabSz="914400">
                <a:defRPr/>
              </a:pPr>
              <a:t>9</a:t>
            </a:fld>
            <a:endParaRPr lang="es-CL" dirty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2001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2.bin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emf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5.bin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47.xml"/><Relationship Id="rId7" Type="http://schemas.openxmlformats.org/officeDocument/2006/relationships/image" Target="../media/image3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9.emf"/><Relationship Id="rId5" Type="http://schemas.openxmlformats.org/officeDocument/2006/relationships/image" Target="../media/image35.emf"/><Relationship Id="rId4" Type="http://schemas.openxmlformats.org/officeDocument/2006/relationships/oleObject" Target="../embeddings/oleObject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4.bin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1.png"/><Relationship Id="rId4" Type="http://schemas.openxmlformats.org/officeDocument/2006/relationships/oleObject" Target="../embeddings/oleObject4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2.jp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2.sv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8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9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0.bin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12.jp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3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9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0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1.bin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69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6548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33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/>
            </a:lvl1pPr>
          </a:lstStyle>
          <a:p>
            <a:r>
              <a:rPr lang="es-ES_tradnl">
                <a:solidFill>
                  <a:srgbClr val="616161"/>
                </a:solidFill>
              </a:rPr>
              <a:t>Fuente o Pie de página Arial 9</a:t>
            </a:r>
            <a:endParaRPr lang="es-ES_tradnl" dirty="0">
              <a:solidFill>
                <a:srgbClr val="616161"/>
              </a:solidFill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616161"/>
                </a:solidFill>
              </a:rPr>
              <a:pPr/>
              <a:t>‹Nº›</a:t>
            </a:fld>
            <a:endParaRPr lang="es-CL" dirty="0">
              <a:solidFill>
                <a:srgbClr val="6161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80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5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974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4041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13603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2994" y="1543345"/>
            <a:ext cx="12501372" cy="745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09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12095018" y="4909264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3808879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7392474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232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32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8093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8093" y="4796585"/>
            <a:ext cx="2615807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3141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3141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4491" y="3272209"/>
            <a:ext cx="3130613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4491" y="3964604"/>
            <a:ext cx="3130613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17808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793141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9609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7804"/>
            <a:ext cx="10994162" cy="504025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11171351" y="3042783"/>
            <a:ext cx="367606" cy="4500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2188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7561139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1430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3927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10330" y="5229656"/>
            <a:ext cx="2615807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3905375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4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3927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03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1429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63927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910324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12051342" y="4914802"/>
            <a:ext cx="335475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71012" y="266895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71012" y="3443908"/>
            <a:ext cx="3127297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9170" y="8488767"/>
            <a:ext cx="10994162" cy="488022"/>
          </a:xfrm>
          <a:prstGeom prst="rect">
            <a:avLst/>
          </a:prstGeom>
        </p:spPr>
        <p:txBody>
          <a:bodyPr anchor="t"/>
          <a:lstStyle>
            <a:lvl1pPr marL="299697" marR="0" indent="-299697" algn="l" defTabSz="1597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1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marL="299697" marR="0" lvl="0" indent="-299697" algn="l" defTabSz="1597354" eaLnBrk="1" fontAlgn="auto" latinLnBrk="0" hangingPunct="1">
              <a:lnSpc>
                <a:spcPct val="100000"/>
              </a:lnSpc>
              <a:spcBef>
                <a:spcPts val="131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11171351" y="2493456"/>
            <a:ext cx="367606" cy="56439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5042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12098593" y="4890809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81156" y="3132275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53755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300" y="3396024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1156" y="4727930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253755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300" y="4991679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81156" y="6319661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2537557" y="6310319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300" y="6583411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6597" y="328314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6597" y="3952728"/>
            <a:ext cx="3127297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10918402" y="3078348"/>
            <a:ext cx="367606" cy="4394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02406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12094521" y="4820672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11308403" y="2801702"/>
            <a:ext cx="367606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8075" y="280170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0208" y="3225359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9690" y="280170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4844470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8075" y="4500614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10208" y="4861927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690" y="4500614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4844470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8075" y="619813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10208" y="6621788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690" y="619813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4844470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895063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587456"/>
            <a:ext cx="3127297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2990" y="8480226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18826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506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12094520" y="4740190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C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599980" y="4091035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34660" y="2846979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6556" y="2846979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36555" y="2275674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3136556" y="2680619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9658" y="2846979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599980" y="6153793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34660" y="4909736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36556" y="4909736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36555" y="4338432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3136556" y="4743376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89658" y="4909736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34660" y="6973852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6556" y="6973852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36555" y="6402548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3136556" y="6807493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89658" y="6973852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536577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291316"/>
            <a:ext cx="3127297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11464412" y="2289966"/>
            <a:ext cx="367606" cy="5672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930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14653" y="2722917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589658" y="2722927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926760" y="2722927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83B727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26762" y="2146121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926765" y="2536771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4658" y="2146121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5814653" y="2536771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14098" y="2722926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4098" y="2146121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2536771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5006" y="2754826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4460" y="2754826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14653" y="4840828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589658" y="4840833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926760" y="4840833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6762" y="4264038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926759" y="4654683"/>
            <a:ext cx="267393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4658" y="4264038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5814653" y="4654683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314098" y="4840830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314098" y="4264038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4654683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15006" y="4872746"/>
            <a:ext cx="2102845" cy="583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4460" y="4872737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14653" y="7156845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589658" y="7156856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926760" y="7156856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rgbClr val="FFFFFF"/>
              </a:solidFill>
              <a:ea typeface="Barlow Regular"/>
              <a:cs typeface="Arial" panose="020B0604020202020204" pitchFamily="34" charset="0"/>
              <a:sym typeface="Barlow Regular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926762" y="6580054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926765" y="6970699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48858" y="6580054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5833267" y="6970699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14093" y="7156854"/>
            <a:ext cx="3090150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348300" y="6580054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12348299" y="6970699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15006" y="7188754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4460" y="7188754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6471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9662" y="2127351"/>
            <a:ext cx="14812363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9600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91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87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98393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1972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0593" y="2655556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361" y="2882528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958296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90593" y="4088304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65361" y="4315276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958296" y="402905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90593" y="5521052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5361" y="5748024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958296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90593" y="6953799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65361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958296" y="6894551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289712" y="27293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289712" y="41452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289712" y="5574674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72925" y="70040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5331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809" y="2188777"/>
            <a:ext cx="4744444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1572" y="2415749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724506" y="212952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6804" y="377711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31572" y="400409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724506" y="372306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6804" y="536545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1572" y="559243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724506" y="5316600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6809" y="6953799"/>
            <a:ext cx="4744439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1572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724506" y="691013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030550" y="2188778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030550" y="5159040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55923" y="2262596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55923" y="38475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55923" y="54325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55923" y="7017553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972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1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77066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037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2993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11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7066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29037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2993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08115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02993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029032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770660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02993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29032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770660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08115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210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5632">
          <p15:clr>
            <a:srgbClr val="FBAE40"/>
          </p15:clr>
        </p15:guide>
        <p15:guide id="3" pos="3840">
          <p15:clr>
            <a:srgbClr val="FBAE40"/>
          </p15:clr>
        </p15:guide>
        <p15:guide id="4" pos="204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3268230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79" y="2248306"/>
            <a:ext cx="10151514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726154" y="3671443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869965" y="3749335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10164727" y="4981702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10316573" y="5052340"/>
            <a:ext cx="269559" cy="409086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6761535" y="2327379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6902791" y="2405260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6622743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10009859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solidFill>
                <a:srgbClr val="FFFFFF"/>
              </a:solidFill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8230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1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9045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859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bg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68230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1"/>
              </a:buClr>
              <a:buSzPct val="80000"/>
              <a:buFontTx/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39045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2"/>
              </a:buClr>
              <a:buSzPct val="80000"/>
              <a:buFontTx/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09859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bg2"/>
              </a:buClr>
              <a:buSzPct val="80000"/>
              <a:buFontTx/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2468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pos="120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565413" y="4500562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8542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538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539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4311340" y="3421628"/>
            <a:ext cx="3591075" cy="5579507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51735" y="5533080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730" y="4103903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1736" y="4837416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805726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5837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5837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15843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1180318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5398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25393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125397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8010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572994" y="3410844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7623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62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8761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4311339" y="3409802"/>
            <a:ext cx="3591075" cy="5621537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816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10815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10808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8057261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4927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74926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74910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11803180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84482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08448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08446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0990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20201" y="2139049"/>
            <a:ext cx="9652559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1238" y="2139050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1238" y="5302324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538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4" y="358378"/>
            <a:ext cx="5263871" cy="1525191"/>
          </a:xfrm>
          <a:prstGeom prst="rect">
            <a:avLst/>
          </a:prstGeom>
        </p:spPr>
        <p:txBody>
          <a:bodyPr anchor="b"/>
          <a:lstStyle>
            <a:lvl1pPr algn="l">
              <a:defRPr sz="2623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5405" y="358381"/>
            <a:ext cx="8946705" cy="7682211"/>
          </a:xfrm>
          <a:prstGeom prst="rect">
            <a:avLst/>
          </a:prstGeom>
        </p:spPr>
        <p:txBody>
          <a:bodyPr/>
          <a:lstStyle>
            <a:lvl1pPr>
              <a:defRPr sz="4198"/>
            </a:lvl1pPr>
            <a:lvl2pPr>
              <a:defRPr sz="3673"/>
            </a:lvl2pPr>
            <a:lvl3pPr>
              <a:defRPr sz="3148"/>
            </a:lvl3pPr>
            <a:lvl4pPr>
              <a:defRPr sz="2623"/>
            </a:lvl4pPr>
            <a:lvl5pPr>
              <a:defRPr sz="2623"/>
            </a:lvl5pPr>
            <a:lvl6pPr>
              <a:defRPr sz="2623"/>
            </a:lvl6pPr>
            <a:lvl7pPr>
              <a:defRPr sz="2623"/>
            </a:lvl7pPr>
            <a:lvl8pPr>
              <a:defRPr sz="2623"/>
            </a:lvl8pPr>
            <a:lvl9pPr>
              <a:defRPr sz="262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9894" y="1883572"/>
            <a:ext cx="5263871" cy="61570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/>
            </a:lvl1pPr>
            <a:lvl2pPr marL="599758" indent="0">
              <a:buNone/>
              <a:defRPr sz="1575"/>
            </a:lvl2pPr>
            <a:lvl3pPr marL="1199516" indent="0">
              <a:buNone/>
              <a:defRPr sz="1312"/>
            </a:lvl3pPr>
            <a:lvl4pPr marL="1799274" indent="0">
              <a:buNone/>
              <a:defRPr sz="1181"/>
            </a:lvl4pPr>
            <a:lvl5pPr marL="2399031" indent="0">
              <a:buNone/>
              <a:defRPr sz="1181"/>
            </a:lvl5pPr>
            <a:lvl6pPr marL="2998789" indent="0">
              <a:buNone/>
              <a:defRPr sz="1181"/>
            </a:lvl6pPr>
            <a:lvl7pPr marL="3598547" indent="0">
              <a:buNone/>
              <a:defRPr sz="1181"/>
            </a:lvl7pPr>
            <a:lvl8pPr marL="4198305" indent="0">
              <a:buNone/>
              <a:defRPr sz="1181"/>
            </a:lvl8pPr>
            <a:lvl9pPr marL="4798063" indent="0">
              <a:buNone/>
              <a:defRPr sz="118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23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0930" y="833438"/>
            <a:ext cx="9299079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358593" y="833437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58593" y="4661000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5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739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15640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D69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9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39" y="593833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6307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6289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40980A-800B-3E49-81AE-30A06B5188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1473101"/>
            <a:ext cx="12001500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664026DE-13A6-FB41-A1CA-B9D83D2F66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0250" y="4727675"/>
            <a:ext cx="12001500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A1DE27C-F40E-EC46-BDC1-3F33E3094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7D7D4-ADDB-AE45-A262-4B768C367122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0E1A94E-AA7C-4340-B4E6-41F6F8B24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B08D5BA-EC09-734B-AAC1-45791E419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935A7-8356-9E43-B1B6-7F5239A944E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8556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A60A34D-8D30-2244-A712-90E65C72D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B2AAE2A-CCFF-F342-81F1-FC467A009E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BB438F3-4AC2-1144-8390-44F215EF0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7D7D4-ADDB-AE45-A262-4B768C367122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AA60BCD-D775-784C-BDF0-8B8422309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D1F42CB-271D-8840-B3D7-3F9B6567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935A7-8356-9E43-B1B6-7F5239A944E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308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D9C4EED-0276-D14B-940A-580FDC0B3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803" y="2244032"/>
            <a:ext cx="13801725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FA72A67-658C-6140-81E3-0239DE7F8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1803" y="6023671"/>
            <a:ext cx="13801725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F1FE463-2ED3-1948-BAD1-C2A99F77A3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2E74C94-6B59-5A46-94B2-C82495138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9794996-403F-2B45-907E-D57585D5B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91740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F26FC5E-6E79-EE47-B4F1-18FFB2EF4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0BA55D2-1E78-7948-9669-44CF81F855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00138" y="2396133"/>
            <a:ext cx="6800850" cy="57111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88EBF31-D42C-194D-8B22-688988523A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1013" y="2396133"/>
            <a:ext cx="6800850" cy="57111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1E96743-20EE-4C4C-8279-E256825DB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FB4F90D-78C2-DD43-997F-F3BEB6CC8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3317902-5647-3B42-85CF-B9F38F89C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7831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3D71F37-0ECB-CC4D-A180-F90B56162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479227"/>
            <a:ext cx="13801725" cy="1739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3C93CD6-E3EA-6543-A38B-6E40B5EC36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2223" y="2206526"/>
            <a:ext cx="676959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E3C4829-D87A-5B4B-8FFD-E56887A141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02223" y="3287911"/>
            <a:ext cx="6769595" cy="48360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FA01311B-A4E9-F34F-9591-59802B6AC8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01013" y="2206526"/>
            <a:ext cx="6802934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1208AC7-AC52-6B41-8029-13AE2B266B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01013" y="3287911"/>
            <a:ext cx="6802934" cy="48360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15268186-AA24-5D42-B295-7A24DE833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99595D7-AD04-0D45-B4FD-824A84895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0FC185C-4078-1148-8C82-649559AFB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2288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5D92F9-2F04-4140-B09E-12E94E408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451828F-1CF0-204D-BA52-08A37626C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BCC13ED-FA08-C34C-AF7D-5124A7BE8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2071C99-B54F-9044-B391-F315BD539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714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7077" y="6300787"/>
            <a:ext cx="9600784" cy="743844"/>
          </a:xfrm>
          <a:prstGeom prst="rect">
            <a:avLst/>
          </a:prstGeom>
        </p:spPr>
        <p:txBody>
          <a:bodyPr anchor="b"/>
          <a:lstStyle>
            <a:lvl1pPr algn="l">
              <a:defRPr sz="2623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37077" y="804267"/>
            <a:ext cx="9600784" cy="5400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98"/>
            </a:lvl1pPr>
            <a:lvl2pPr marL="599758" indent="0">
              <a:buNone/>
              <a:defRPr sz="3673"/>
            </a:lvl2pPr>
            <a:lvl3pPr marL="1199516" indent="0">
              <a:buNone/>
              <a:defRPr sz="3148"/>
            </a:lvl3pPr>
            <a:lvl4pPr marL="1799274" indent="0">
              <a:buNone/>
              <a:defRPr sz="2623"/>
            </a:lvl4pPr>
            <a:lvl5pPr marL="2399031" indent="0">
              <a:buNone/>
              <a:defRPr sz="2623"/>
            </a:lvl5pPr>
            <a:lvl6pPr marL="2998789" indent="0">
              <a:buNone/>
              <a:defRPr sz="2623"/>
            </a:lvl6pPr>
            <a:lvl7pPr marL="3598547" indent="0">
              <a:buNone/>
              <a:defRPr sz="2623"/>
            </a:lvl7pPr>
            <a:lvl8pPr marL="4198305" indent="0">
              <a:buNone/>
              <a:defRPr sz="2623"/>
            </a:lvl8pPr>
            <a:lvl9pPr marL="4798063" indent="0">
              <a:buNone/>
              <a:defRPr sz="2623"/>
            </a:lvl9pPr>
          </a:lstStyle>
          <a:p>
            <a:endParaRPr lang="es-C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37077" y="7044631"/>
            <a:ext cx="9600784" cy="1056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/>
            </a:lvl1pPr>
            <a:lvl2pPr marL="599758" indent="0">
              <a:buNone/>
              <a:defRPr sz="1575"/>
            </a:lvl2pPr>
            <a:lvl3pPr marL="1199516" indent="0">
              <a:buNone/>
              <a:defRPr sz="1312"/>
            </a:lvl3pPr>
            <a:lvl4pPr marL="1799274" indent="0">
              <a:buNone/>
              <a:defRPr sz="1181"/>
            </a:lvl4pPr>
            <a:lvl5pPr marL="2399031" indent="0">
              <a:buNone/>
              <a:defRPr sz="1181"/>
            </a:lvl5pPr>
            <a:lvl6pPr marL="2998789" indent="0">
              <a:buNone/>
              <a:defRPr sz="1181"/>
            </a:lvl6pPr>
            <a:lvl7pPr marL="3598547" indent="0">
              <a:buNone/>
              <a:defRPr sz="1181"/>
            </a:lvl7pPr>
            <a:lvl8pPr marL="4198305" indent="0">
              <a:buNone/>
              <a:defRPr sz="1181"/>
            </a:lvl8pPr>
            <a:lvl9pPr marL="4798063" indent="0">
              <a:buNone/>
              <a:defRPr sz="118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93961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A6DAD6B-F6B3-4D4C-B784-6CCC1A026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E648FE0-51D4-804E-AF84-FD7B3FA4E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E585C1D-5DBC-754C-96DF-44A7E6758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2027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7844C2-F29E-F247-8C63-A95DD3289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CFEBB0C-9316-1540-83E7-A2070BA75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5676280-B5B8-D14A-BF1C-40B5C6E7EA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BD02440-EA67-4547-B005-D467C28A1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9D23E5E5-795D-5D46-9CDD-F38AEF14A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AAC1CEC-2AC4-C441-B19F-69AC911ED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0630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E200E9D-D965-A842-A642-E1C9EE417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491E7DFE-2D51-FB4E-A39A-FD37CDD205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4CBD987-38D5-5D40-9F06-B58E04CFFA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99A4A86-6BF2-584C-BFAB-4B805540B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160F40B-723E-074B-ACBA-359782867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CB07D1A-8BF2-0C42-8322-162940973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4093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FE76F7-6867-1C44-AF47-72F98E7E6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C2DD568-718E-6B48-B67A-0F46DD7665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20F39BD-73EF-2D49-AE31-A80FF2AA2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601207D-4F80-3F4C-A052-BA3C4508F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F16CF6F-9E7C-8249-8898-184C4793F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9833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A20B6D7E-EE70-8241-A3A4-42E8CDECD2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451431" y="479227"/>
            <a:ext cx="3450431" cy="76280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1E35FC73-96C7-4943-BAD5-F046950160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00137" y="479227"/>
            <a:ext cx="10151269" cy="76280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816AE7A-D701-D846-96E6-04FACBABD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B824539-7257-D946-A43F-061C5D3D2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14A8593-8B16-4346-9C9C-9E469624E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0668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380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3866034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9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299604" y="8277970"/>
            <a:ext cx="1364556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13" b="0" u="none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5987" y="6506250"/>
            <a:ext cx="6549094" cy="1500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938" b="1">
                <a:solidFill>
                  <a:schemeClr val="bg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286113" y="535467"/>
            <a:ext cx="1295806" cy="20437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8837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" y="0"/>
          <a:ext cx="277813" cy="208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77813" cy="208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55288D1B-98A4-32E3-8DB4-CCBE19B84F9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65560" y="3297513"/>
            <a:ext cx="5870882" cy="240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186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11313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AD3C91F-24C9-937E-CAD8-008A6BCF7E99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BECB94EE-2021-766E-66DF-A02E74D7DA1A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784DA957-7346-8A14-74C3-09C332D9867D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41935EE7-2010-DB0E-6C3A-AC90D27A85D5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7C14BBD-5910-AA0B-FA10-89E9320D26CE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426E49CE-8D77-9EFE-34DD-2EB4C78A08C7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D172806-E0A8-B922-23CD-E04F500955B5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AA27AEF8-B9C0-93A0-8845-A752493B5842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EF9FAB4C-032F-599C-A2B8-4AF8DBF26325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C99CA4D3-9B09-FFC7-2982-9EB313F7B3E9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E87D6726-AA9A-125F-35D7-F17ABD668B3B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46669984-4816-DF96-05FD-DB4F32E1D237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6462527A-413E-08BC-6BAB-21B40FFBE75A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D8D87479-B62F-508C-CDEC-C459FACFB5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9" name="Marcador de número de diapositiva 1">
            <a:extLst>
              <a:ext uri="{FF2B5EF4-FFF2-40B4-BE49-F238E27FC236}">
                <a16:creationId xmlns="" xmlns:a16="http://schemas.microsoft.com/office/drawing/2014/main" id="{4A8CA278-5EA4-F2D1-645A-2841FE908A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7B7BA8A6-132C-AE42-B46A-523DDA5471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EFFB580F-43F1-D169-9FBA-E4BD07DEF46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63A156A8-1ECD-9141-544B-166421C124E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CD5E070D-3F3B-1B6F-3AB7-9379AABAD1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74459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9893" y="2100266"/>
            <a:ext cx="14402217" cy="594032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856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17831" y="5311361"/>
            <a:ext cx="5021772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69" b="0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marL="0" marR="0" lvl="0" indent="0" algn="l" defTabSz="1599158" eaLnBrk="1" fontAlgn="auto" latinLnBrk="0" hangingPunct="1">
              <a:lnSpc>
                <a:spcPct val="90000"/>
              </a:lnSpc>
              <a:spcBef>
                <a:spcPts val="2953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17831" y="3168024"/>
            <a:ext cx="5088452" cy="17067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938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420224" y="-170628"/>
            <a:ext cx="11632025" cy="9838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508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nja 1/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11569950" cy="9001125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marL="225028" indent="-225028" algn="ctr" defTabSz="1083469" hangingPunct="0">
              <a:buFont typeface="Wingdings" panose="05000000000000000000" pitchFamily="2" charset="2"/>
              <a:buChar char="§"/>
            </a:pPr>
            <a:endParaRPr lang="en-US" sz="1313" dirty="0" err="1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FE66F47F-72C7-BAE4-A47A-FB881F895DC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5" name="Marcador de número de diapositiva 1">
            <a:extLst>
              <a:ext uri="{FF2B5EF4-FFF2-40B4-BE49-F238E27FC236}">
                <a16:creationId xmlns="" xmlns:a16="http://schemas.microsoft.com/office/drawing/2014/main" id="{54856A64-3944-D063-A51A-843A25CACD1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BB13BA6-FEB8-A8D9-5534-1EFF3038A5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BDF55F6-86E9-D30E-473D-03D8AB6ED51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3071ADB6-042E-C07F-156D-FE614C27E067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8057293C-3509-6315-A576-6CEBF8FF5C7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73054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6306668" y="0"/>
            <a:ext cx="969533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100" y="1064887"/>
            <a:ext cx="5216653" cy="2088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4725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Máximo 3 líneas Arial - 36 puntos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0100" y="3606380"/>
            <a:ext cx="4588808" cy="2088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15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5E0497F8-A2FD-49A7-2776-B541B2C608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567" y="7645912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8021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698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92941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9521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980" y="5358054"/>
            <a:ext cx="2507526" cy="2052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313"/>
              </a:spcBef>
              <a:spcAft>
                <a:spcPts val="1313"/>
              </a:spcAft>
              <a:buNone/>
              <a:defRPr sz="210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Arial</a:t>
            </a:r>
            <a:br>
              <a:rPr lang="es-ES" dirty="0">
                <a:solidFill>
                  <a:schemeClr val="bg2"/>
                </a:solidFill>
              </a:rPr>
            </a:br>
            <a:r>
              <a:rPr lang="es-ES" dirty="0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2941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98902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1" y="5358641"/>
            <a:ext cx="2507526" cy="20520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4939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7107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8172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839237" y="2528813"/>
            <a:ext cx="1574942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88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9D7B7004-52BB-B5F0-4E28-4F86D8D4781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08EA6602-AC03-7B3E-9195-835BCBF5F9C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501FF1B-BD4D-A157-0E36-74D11CCC3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F8B2E1C-3612-5603-0BF4-77D309DEC3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CA188178-0E47-0073-F8C7-CEABECF512B4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0F1CF61F-F315-E01E-9B5C-4E1A830AC3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383332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7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29304716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1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24617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24617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8545" y="593825"/>
            <a:ext cx="687586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3812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82222" cy="2130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5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82222" cy="2130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89657" y="651749"/>
            <a:ext cx="12927181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625" b="0" i="0" u="none" strike="noStrike" cap="none" spc="0" baseline="0" dirty="0">
                <a:solidFill>
                  <a:schemeClr val="accent5"/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89657" y="1522343"/>
            <a:ext cx="12927181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21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erif" pitchFamily="2" charset="0"/>
                <a:ea typeface="ACHS Nueva Serif" pitchFamily="2" charset="0"/>
                <a:cs typeface="Arial" panose="020B0604020202020204" pitchFamily="34" charset="0"/>
                <a:sym typeface="Arial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2467272" y="504591"/>
            <a:ext cx="647770" cy="647376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621793" y="505675"/>
            <a:ext cx="645405" cy="645405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34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000000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22</a:t>
            </a:r>
            <a:endParaRPr sz="1050" kern="0" dirty="0">
              <a:solidFill>
                <a:srgbClr val="000000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2417267" y="1460241"/>
            <a:ext cx="647769" cy="647376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9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2417266" y="2315450"/>
            <a:ext cx="647770" cy="647376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5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43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622975" y="2315450"/>
            <a:ext cx="647770" cy="647376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42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08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815444" y="505772"/>
            <a:ext cx="645405" cy="645405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2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25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69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622975" y="1460922"/>
            <a:ext cx="647770" cy="647376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105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105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2417268" y="170092"/>
            <a:ext cx="212625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2417268" y="1133785"/>
            <a:ext cx="2457000" cy="3589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 err="1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2417268" y="2107616"/>
            <a:ext cx="2457000" cy="2201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2418943" y="3214165"/>
            <a:ext cx="647770" cy="647376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139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15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255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624653" y="3214165"/>
            <a:ext cx="647770" cy="647376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33338" tIns="33338" rIns="33338" bIns="33338" anchor="t"/>
          <a:lstStyle/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R 30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G 17</a:t>
            </a:r>
          </a:p>
          <a:p>
            <a:pPr defTabSz="541734" hangingPunct="0">
              <a:lnSpc>
                <a:spcPct val="90000"/>
              </a:lnSpc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1050" kern="0" dirty="0">
                <a:solidFill>
                  <a:srgbClr val="FFFFFF"/>
                </a:solidFill>
                <a:latin typeface="ACHS Nueva Serif" pitchFamily="2" charset="0"/>
                <a:ea typeface="Arial"/>
                <a:cs typeface="Arial"/>
                <a:sym typeface="Arial"/>
              </a:rPr>
              <a:t>B 124</a:t>
            </a:r>
            <a:endParaRPr sz="1050" kern="0" dirty="0">
              <a:solidFill>
                <a:srgbClr val="FFFFFF"/>
              </a:solidFill>
              <a:latin typeface="ACHS Nueva Serif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2418945" y="2942634"/>
            <a:ext cx="2457000" cy="283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defTabSz="1083469" hangingPunct="0"/>
            <a:r>
              <a:rPr lang="es-ES" sz="1313" kern="0" dirty="0">
                <a:solidFill>
                  <a:srgbClr val="616161"/>
                </a:solidFill>
                <a:latin typeface="ACHS Nueva Serif" pitchFamily="2" charset="0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313" kern="0" dirty="0">
              <a:solidFill>
                <a:srgbClr val="616161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726610" y="600856"/>
            <a:ext cx="1857913" cy="68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4132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294" y="2086589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4" y="4199016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294" y="6311442"/>
            <a:ext cx="1842060" cy="11662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9E9C22AF-E388-556C-4E40-782807F42A9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5C50D126-ACFF-8254-BC9B-5257DAE7AAB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05375231-091A-3750-BE08-97BEB30D04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C071937-690E-BA6A-1309-B62976822B8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5" name="Conector recto 18">
            <a:extLst>
              <a:ext uri="{FF2B5EF4-FFF2-40B4-BE49-F238E27FC236}">
                <a16:creationId xmlns="" xmlns:a16="http://schemas.microsoft.com/office/drawing/2014/main" id="{EA2A2096-C900-949A-CDD7-F85753C279CA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>
            <a:extLst>
              <a:ext uri="{FF2B5EF4-FFF2-40B4-BE49-F238E27FC236}">
                <a16:creationId xmlns="" xmlns:a16="http://schemas.microsoft.com/office/drawing/2014/main" id="{B27470B5-6416-9AA9-0A36-EB3F1CAEB9D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164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767" y="593825"/>
            <a:ext cx="14751363" cy="7778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50" b="0">
                <a:solidFill>
                  <a:schemeClr val="tx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76567" y="763950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984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615870" y="4051039"/>
            <a:ext cx="14786151" cy="86406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spAutoFit/>
          </a:bodyPr>
          <a:lstStyle/>
          <a:p>
            <a:pPr algn="ctr" defTabSz="1083469" hangingPunct="0"/>
            <a:endParaRPr lang="x-none" sz="4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3608447" y="6594829"/>
            <a:ext cx="1812472" cy="1812472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8446" y="1339298"/>
            <a:ext cx="13064006" cy="6287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7088" b="0">
                <a:solidFill>
                  <a:schemeClr val="tx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636" y="7079878"/>
            <a:ext cx="1812472" cy="84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05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02595" y="360465"/>
            <a:ext cx="3599513" cy="768012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9894" y="360465"/>
            <a:ext cx="10602731" cy="768012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7823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8001000" cy="9001125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75" tIns="66675" rIns="66675" bIns="66675" numCol="1" spcCol="38100" rtlCol="0" anchor="ctr">
            <a:noAutofit/>
          </a:bodyPr>
          <a:lstStyle/>
          <a:p>
            <a:pPr marL="225028" indent="-225028" algn="ctr" defTabSz="1083469" hangingPunct="0">
              <a:buFont typeface="Wingdings" panose="05000000000000000000" pitchFamily="2" charset="2"/>
              <a:buChar char="§"/>
            </a:pPr>
            <a:endParaRPr lang="en-US" sz="1313" dirty="0">
              <a:solidFill>
                <a:srgbClr val="FFFFFF"/>
              </a:solidFill>
              <a:latin typeface="ACHS Nueva Serif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C80AA98-DF0A-D558-4346-340778DB86D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2987" y="8685668"/>
            <a:ext cx="14390417" cy="3007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181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5162312" y="8685668"/>
            <a:ext cx="663394" cy="31545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313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defTabSz="1200150"/>
            <a:fld id="{B37290F3-BA30-9341-A10E-737EC97582C1}" type="slidenum">
              <a:rPr lang="es-CL" smtClean="0">
                <a:solidFill>
                  <a:srgbClr val="000000"/>
                </a:solidFill>
              </a:rPr>
              <a:pPr defTabSz="120015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9657" y="651749"/>
            <a:ext cx="12948878" cy="6875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625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657" y="1522343"/>
            <a:ext cx="12948878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572989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77420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821922" y="1281411"/>
            <a:ext cx="11915992" cy="88524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8094" b="1">
                <a:solidFill>
                  <a:schemeClr val="accent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85" y="2085"/>
          <a:ext cx="2083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5" y="2085"/>
                        <a:ext cx="2083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6216" y="485777"/>
            <a:ext cx="2807058" cy="31432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75" b="0">
                <a:solidFill>
                  <a:schemeClr val="accent3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200151" y="2823041"/>
            <a:ext cx="13552913" cy="51389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250" b="0">
                <a:solidFill>
                  <a:schemeClr val="accent1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200151" y="1654144"/>
            <a:ext cx="13552913" cy="6875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250" b="1">
                <a:solidFill>
                  <a:schemeClr val="bg2"/>
                </a:solidFill>
                <a:latin typeface="ACHS Nueva Serif" pitchFamily="2" charset="0"/>
                <a:cs typeface="Arial" panose="020B0604020202020204" pitchFamily="34" charset="0"/>
              </a:defRPr>
            </a:lvl1pPr>
            <a:lvl2pPr marL="400050" indent="0">
              <a:buNone/>
              <a:defRPr/>
            </a:lvl2pPr>
            <a:lvl3pPr marL="800100" indent="0">
              <a:buNone/>
              <a:defRPr/>
            </a:lvl3pPr>
            <a:lvl4pPr marL="1200150" indent="0">
              <a:buNone/>
              <a:defRPr/>
            </a:lvl4pPr>
            <a:lvl5pPr marL="1600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pic>
        <p:nvPicPr>
          <p:cNvPr id="2" name="Picture 9">
            <a:extLst>
              <a:ext uri="{FF2B5EF4-FFF2-40B4-BE49-F238E27FC236}">
                <a16:creationId xmlns="" xmlns:a16="http://schemas.microsoft.com/office/drawing/2014/main" id="{AE4C7EE8-3C8D-3F09-779E-F218E79787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24045" y="600229"/>
            <a:ext cx="1662086" cy="68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41602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1473101"/>
            <a:ext cx="12001500" cy="3133725"/>
          </a:xfrm>
        </p:spPr>
        <p:txBody>
          <a:bodyPr anchor="b"/>
          <a:lstStyle>
            <a:lvl1pPr algn="ctr"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0250" y="4727675"/>
            <a:ext cx="12001500" cy="2173188"/>
          </a:xfrm>
        </p:spPr>
        <p:txBody>
          <a:bodyPr/>
          <a:lstStyle>
            <a:lvl1pPr marL="0" indent="0" algn="ctr">
              <a:buNone/>
              <a:defRPr sz="3150"/>
            </a:lvl1pPr>
            <a:lvl2pPr marL="600075" indent="0" algn="ctr">
              <a:buNone/>
              <a:defRPr sz="2625"/>
            </a:lvl2pPr>
            <a:lvl3pPr marL="1200150" indent="0" algn="ctr">
              <a:buNone/>
              <a:defRPr sz="2363"/>
            </a:lvl3pPr>
            <a:lvl4pPr marL="1800225" indent="0" algn="ctr">
              <a:buNone/>
              <a:defRPr sz="2100"/>
            </a:lvl4pPr>
            <a:lvl5pPr marL="2400300" indent="0" algn="ctr">
              <a:buNone/>
              <a:defRPr sz="2100"/>
            </a:lvl5pPr>
            <a:lvl6pPr marL="3000375" indent="0" algn="ctr">
              <a:buNone/>
              <a:defRPr sz="2100"/>
            </a:lvl6pPr>
            <a:lvl7pPr marL="3600450" indent="0" algn="ctr">
              <a:buNone/>
              <a:defRPr sz="2100"/>
            </a:lvl7pPr>
            <a:lvl8pPr marL="4200525" indent="0" algn="ctr">
              <a:buNone/>
              <a:defRPr sz="2100"/>
            </a:lvl8pPr>
            <a:lvl9pPr marL="4800600" indent="0" algn="ctr">
              <a:buNone/>
              <a:defRPr sz="21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4424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18975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803" y="2244032"/>
            <a:ext cx="13801725" cy="3744217"/>
          </a:xfrm>
        </p:spPr>
        <p:txBody>
          <a:bodyPr anchor="b"/>
          <a:lstStyle>
            <a:lvl1pPr>
              <a:defRPr sz="7875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1803" y="6023671"/>
            <a:ext cx="13801725" cy="1968995"/>
          </a:xfrm>
        </p:spPr>
        <p:txBody>
          <a:bodyPr/>
          <a:lstStyle>
            <a:lvl1pPr marL="0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1pPr>
            <a:lvl2pPr marL="600075" indent="0">
              <a:buNone/>
              <a:defRPr sz="2625">
                <a:solidFill>
                  <a:schemeClr val="tx1">
                    <a:tint val="75000"/>
                  </a:schemeClr>
                </a:solidFill>
              </a:defRPr>
            </a:lvl2pPr>
            <a:lvl3pPr marL="1200150" indent="0">
              <a:buNone/>
              <a:defRPr sz="2363">
                <a:solidFill>
                  <a:schemeClr val="tx1">
                    <a:tint val="75000"/>
                  </a:schemeClr>
                </a:solidFill>
              </a:defRPr>
            </a:lvl3pPr>
            <a:lvl4pPr marL="18002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4003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00037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60045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2005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9471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00138" y="2396133"/>
            <a:ext cx="6800850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1013" y="2396133"/>
            <a:ext cx="6800850" cy="5711131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2897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479227"/>
            <a:ext cx="13801725" cy="17398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2223" y="2206526"/>
            <a:ext cx="6769595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02223" y="3287911"/>
            <a:ext cx="6769595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01013" y="2206526"/>
            <a:ext cx="6802934" cy="1081385"/>
          </a:xfrm>
        </p:spPr>
        <p:txBody>
          <a:bodyPr anchor="b"/>
          <a:lstStyle>
            <a:lvl1pPr marL="0" indent="0">
              <a:buNone/>
              <a:defRPr sz="3150" b="1"/>
            </a:lvl1pPr>
            <a:lvl2pPr marL="600075" indent="0">
              <a:buNone/>
              <a:defRPr sz="2625" b="1"/>
            </a:lvl2pPr>
            <a:lvl3pPr marL="1200150" indent="0">
              <a:buNone/>
              <a:defRPr sz="2363" b="1"/>
            </a:lvl3pPr>
            <a:lvl4pPr marL="1800225" indent="0">
              <a:buNone/>
              <a:defRPr sz="2100" b="1"/>
            </a:lvl4pPr>
            <a:lvl5pPr marL="2400300" indent="0">
              <a:buNone/>
              <a:defRPr sz="2100" b="1"/>
            </a:lvl5pPr>
            <a:lvl6pPr marL="3000375" indent="0">
              <a:buNone/>
              <a:defRPr sz="2100" b="1"/>
            </a:lvl6pPr>
            <a:lvl7pPr marL="3600450" indent="0">
              <a:buNone/>
              <a:defRPr sz="2100" b="1"/>
            </a:lvl7pPr>
            <a:lvl8pPr marL="4200525" indent="0">
              <a:buNone/>
              <a:defRPr sz="2100" b="1"/>
            </a:lvl8pPr>
            <a:lvl9pPr marL="4800600" indent="0">
              <a:buNone/>
              <a:defRPr sz="21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01013" y="3287911"/>
            <a:ext cx="6802934" cy="4836022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20325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6178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60297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>
              <a:defRPr sz="4200"/>
            </a:lvl1pPr>
            <a:lvl2pPr>
              <a:defRPr sz="3675"/>
            </a:lvl2pPr>
            <a:lvl3pPr>
              <a:defRPr sz="3150"/>
            </a:lvl3pPr>
            <a:lvl4pPr>
              <a:defRPr sz="2625"/>
            </a:lvl4pPr>
            <a:lvl5pPr>
              <a:defRPr sz="2625"/>
            </a:lvl5pPr>
            <a:lvl6pPr>
              <a:defRPr sz="2625"/>
            </a:lvl6pPr>
            <a:lvl7pPr>
              <a:defRPr sz="2625"/>
            </a:lvl7pPr>
            <a:lvl8pPr>
              <a:defRPr sz="2625"/>
            </a:lvl8pPr>
            <a:lvl9pPr>
              <a:defRPr sz="2625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5185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8CAD458-CCE8-F542-BC1D-E136CFAECD80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68216AF-254D-C841-A536-AC14147E4D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3948" y="2602869"/>
            <a:ext cx="13148036" cy="3133725"/>
          </a:xfrm>
        </p:spPr>
        <p:txBody>
          <a:bodyPr anchor="b">
            <a:normAutofit/>
          </a:bodyPr>
          <a:lstStyle>
            <a:lvl1pPr algn="l">
              <a:defRPr lang="es-CL" sz="4720" b="1" kern="1200" spc="-197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2BD1F28-6CDC-E241-B0F9-D5900EDBF4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445557" y="579239"/>
            <a:ext cx="833437" cy="8334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7B64455-9D22-2A4F-8B11-99AD2F408F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946" y="2602869"/>
            <a:ext cx="8248751" cy="130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0421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222" y="600075"/>
            <a:ext cx="5161061" cy="2100263"/>
          </a:xfrm>
        </p:spPr>
        <p:txBody>
          <a:bodyPr anchor="b"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802934" y="1295996"/>
            <a:ext cx="8101013" cy="6396633"/>
          </a:xfrm>
        </p:spPr>
        <p:txBody>
          <a:bodyPr/>
          <a:lstStyle>
            <a:lvl1pPr marL="0" indent="0">
              <a:buNone/>
              <a:defRPr sz="4200"/>
            </a:lvl1pPr>
            <a:lvl2pPr marL="600075" indent="0">
              <a:buNone/>
              <a:defRPr sz="3675"/>
            </a:lvl2pPr>
            <a:lvl3pPr marL="1200150" indent="0">
              <a:buNone/>
              <a:defRPr sz="3150"/>
            </a:lvl3pPr>
            <a:lvl4pPr marL="1800225" indent="0">
              <a:buNone/>
              <a:defRPr sz="2625"/>
            </a:lvl4pPr>
            <a:lvl5pPr marL="2400300" indent="0">
              <a:buNone/>
              <a:defRPr sz="2625"/>
            </a:lvl5pPr>
            <a:lvl6pPr marL="3000375" indent="0">
              <a:buNone/>
              <a:defRPr sz="2625"/>
            </a:lvl6pPr>
            <a:lvl7pPr marL="3600450" indent="0">
              <a:buNone/>
              <a:defRPr sz="2625"/>
            </a:lvl7pPr>
            <a:lvl8pPr marL="4200525" indent="0">
              <a:buNone/>
              <a:defRPr sz="2625"/>
            </a:lvl8pPr>
            <a:lvl9pPr marL="4800600" indent="0">
              <a:buNone/>
              <a:defRPr sz="2625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02222" y="2700338"/>
            <a:ext cx="5161061" cy="5002709"/>
          </a:xfrm>
        </p:spPr>
        <p:txBody>
          <a:bodyPr/>
          <a:lstStyle>
            <a:lvl1pPr marL="0" indent="0">
              <a:buNone/>
              <a:defRPr sz="2100"/>
            </a:lvl1pPr>
            <a:lvl2pPr marL="600075" indent="0">
              <a:buNone/>
              <a:defRPr sz="1838"/>
            </a:lvl2pPr>
            <a:lvl3pPr marL="1200150" indent="0">
              <a:buNone/>
              <a:defRPr sz="1575"/>
            </a:lvl3pPr>
            <a:lvl4pPr marL="1800225" indent="0">
              <a:buNone/>
              <a:defRPr sz="1313"/>
            </a:lvl4pPr>
            <a:lvl5pPr marL="2400300" indent="0">
              <a:buNone/>
              <a:defRPr sz="1313"/>
            </a:lvl5pPr>
            <a:lvl6pPr marL="3000375" indent="0">
              <a:buNone/>
              <a:defRPr sz="1313"/>
            </a:lvl6pPr>
            <a:lvl7pPr marL="3600450" indent="0">
              <a:buNone/>
              <a:defRPr sz="1313"/>
            </a:lvl7pPr>
            <a:lvl8pPr marL="4200525" indent="0">
              <a:buNone/>
              <a:defRPr sz="1313"/>
            </a:lvl8pPr>
            <a:lvl9pPr marL="4800600" indent="0">
              <a:buNone/>
              <a:defRPr sz="1313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1174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64166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451431" y="479227"/>
            <a:ext cx="3450431" cy="7628037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00137" y="479227"/>
            <a:ext cx="10151269" cy="7628037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309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F7C922-2B35-488C-90C3-78D02206D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22033A6-C6C2-40D6-AAB1-5B9FB01C4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A108EC1-DB56-4789-89D8-F63AFC525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60D5-0A4F-46CB-966E-D7A789D304D4}" type="datetimeFigureOut">
              <a:rPr lang="es-CL" smtClean="0"/>
              <a:t>22-01-2025</a:t>
            </a:fld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5A8A96D-0DB6-4B62-A310-6A525D78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0AF4B7E-8BF3-43F2-8130-2B50445CA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CA99-CF64-451F-A9BB-06365FA9480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51752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bg>
      <p:bgPr>
        <a:solidFill>
          <a:srgbClr val="0C6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341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73772" y="7255726"/>
            <a:ext cx="1364557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tx1"/>
                </a:solidFill>
              </a:rPr>
              <a:t>Asociación</a:t>
            </a:r>
            <a:r>
              <a:rPr sz="1837" dirty="0">
                <a:solidFill>
                  <a:schemeClr val="tx1"/>
                </a:solidFill>
              </a:rPr>
              <a:t> </a:t>
            </a:r>
            <a:r>
              <a:rPr sz="1837" dirty="0" err="1">
                <a:solidFill>
                  <a:schemeClr val="tx1"/>
                </a:solidFill>
              </a:rPr>
              <a:t>Chilena</a:t>
            </a:r>
            <a:r>
              <a:rPr sz="1837" dirty="0">
                <a:solidFill>
                  <a:schemeClr val="tx1"/>
                </a:solidFill>
              </a:rPr>
              <a:t> de </a:t>
            </a:r>
            <a:r>
              <a:rPr sz="1837" dirty="0" err="1">
                <a:solidFill>
                  <a:schemeClr val="tx1"/>
                </a:solidFill>
              </a:rPr>
              <a:t>Seguridad</a:t>
            </a:r>
            <a:endParaRPr sz="1837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371838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73772" y="8277979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2775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9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" y="0"/>
            <a:ext cx="1599783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3276705" y="0"/>
            <a:ext cx="9637561" cy="900112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01495" y="1362000"/>
            <a:ext cx="4799013" cy="495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623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434830" y="2137800"/>
            <a:ext cx="1132341" cy="65683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83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3718381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032854" y="7690285"/>
            <a:ext cx="1417145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rgbClr val="106737"/>
                </a:solidFill>
              </a:rPr>
              <a:t>Asociación</a:t>
            </a:r>
            <a:r>
              <a:rPr sz="1837" dirty="0">
                <a:solidFill>
                  <a:srgbClr val="106737"/>
                </a:solidFill>
              </a:rPr>
              <a:t> </a:t>
            </a:r>
            <a:r>
              <a:rPr sz="1837" dirty="0" err="1">
                <a:solidFill>
                  <a:srgbClr val="106737"/>
                </a:solidFill>
              </a:rPr>
              <a:t>Chilena</a:t>
            </a:r>
            <a:r>
              <a:rPr sz="1837" dirty="0">
                <a:solidFill>
                  <a:srgbClr val="106737"/>
                </a:solidFill>
              </a:rPr>
              <a:t> de </a:t>
            </a:r>
            <a:r>
              <a:rPr sz="1837" dirty="0" err="1">
                <a:solidFill>
                  <a:srgbClr val="106737"/>
                </a:solidFill>
              </a:rPr>
              <a:t>Seguridad</a:t>
            </a:r>
            <a:endParaRPr sz="1837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984" y="8216794"/>
            <a:ext cx="1364557" cy="520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rgbClr val="106737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680016"/>
            <a:ext cx="7401020" cy="25497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916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6726">
          <p15:clr>
            <a:srgbClr val="FBAE40"/>
          </p15:clr>
        </p15:guide>
        <p15:guide id="4" orient="horz" pos="4168">
          <p15:clr>
            <a:srgbClr val="FBAE40"/>
          </p15:clr>
        </p15:guide>
        <p15:guide id="5" orient="horz" pos="79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Diapositiva de think-cell" r:id="rId6" imgW="7772400" imgH="10058400" progId="TCLayout.ActiveDocument.1">
                  <p:embed/>
                </p:oleObj>
              </mc:Choice>
              <mc:Fallback>
                <p:oleObj name="Diapositiva de think-cell" r:id="rId6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23715" y="7255724"/>
            <a:ext cx="1502426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bg2"/>
                </a:solidFill>
              </a:rPr>
              <a:t>Asociación</a:t>
            </a:r>
            <a:r>
              <a:rPr sz="1837" dirty="0">
                <a:solidFill>
                  <a:schemeClr val="bg2"/>
                </a:solidFill>
              </a:rPr>
              <a:t> </a:t>
            </a:r>
            <a:r>
              <a:rPr sz="1837" dirty="0" err="1">
                <a:solidFill>
                  <a:schemeClr val="bg2"/>
                </a:solidFill>
              </a:rPr>
              <a:t>Chilena</a:t>
            </a:r>
            <a:r>
              <a:rPr sz="1837" dirty="0">
                <a:solidFill>
                  <a:schemeClr val="bg2"/>
                </a:solidFill>
              </a:rPr>
              <a:t> de </a:t>
            </a:r>
            <a:r>
              <a:rPr sz="1837" dirty="0" err="1">
                <a:solidFill>
                  <a:schemeClr val="bg2"/>
                </a:solidFill>
              </a:rPr>
              <a:t>Seguridad</a:t>
            </a:r>
            <a:endParaRPr sz="1837" dirty="0">
              <a:solidFill>
                <a:schemeClr val="bg2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23720" y="8277979"/>
            <a:ext cx="1566531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523108"/>
            <a:ext cx="7401020" cy="36726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1112335" y="3114146"/>
            <a:ext cx="358933" cy="1762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6606" tIns="66606" rIns="66606" bIns="66606" numCol="1" spcCol="38100" rtlCol="0" anchor="ctr">
            <a:spAutoFit/>
          </a:bodyPr>
          <a:lstStyle/>
          <a:p>
            <a:pPr marL="0" marR="0" indent="0" algn="l" defTabSz="3196708" rtl="0" fontAlgn="auto" latinLnBrk="0" hangingPunct="0">
              <a:lnSpc>
                <a:spcPct val="90000"/>
              </a:lnSpc>
              <a:spcBef>
                <a:spcPts val="5901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6295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78778" y="4807563"/>
            <a:ext cx="3839603" cy="367266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2326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3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11384756" y="4095537"/>
            <a:ext cx="4499840" cy="7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1809704" y="7397078"/>
            <a:ext cx="2665280" cy="565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dirty="0" err="1">
                <a:solidFill>
                  <a:schemeClr val="accent1"/>
                </a:solidFill>
              </a:rPr>
              <a:t>Asociación</a:t>
            </a:r>
            <a:r>
              <a:rPr sz="1837" dirty="0">
                <a:solidFill>
                  <a:schemeClr val="accent1"/>
                </a:solidFill>
              </a:rPr>
              <a:t> </a:t>
            </a:r>
            <a:r>
              <a:rPr sz="1837" dirty="0" err="1">
                <a:solidFill>
                  <a:schemeClr val="accent1"/>
                </a:solidFill>
              </a:rPr>
              <a:t>Chilena</a:t>
            </a:r>
            <a:r>
              <a:rPr sz="1837" dirty="0">
                <a:solidFill>
                  <a:schemeClr val="accent1"/>
                </a:solidFill>
              </a:rPr>
              <a:t> de </a:t>
            </a:r>
            <a:r>
              <a:rPr sz="1837" dirty="0" err="1">
                <a:solidFill>
                  <a:schemeClr val="accent1"/>
                </a:solidFill>
              </a:rPr>
              <a:t>Seguridad</a:t>
            </a:r>
            <a:endParaRPr sz="1837" dirty="0">
              <a:solidFill>
                <a:schemeClr val="accent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09699" y="8266525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117405" y="91323"/>
            <a:ext cx="11152297" cy="87885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no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2994" y="1523108"/>
            <a:ext cx="7428011" cy="2662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9642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3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1675" y="8178518"/>
            <a:ext cx="6982502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3289" y="4917690"/>
            <a:ext cx="7351867" cy="230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588784" y="4917699"/>
            <a:ext cx="0" cy="412211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7DA58F1-71B8-AB43-90F7-8300E93C92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358" y="723166"/>
            <a:ext cx="775912" cy="775912"/>
          </a:xfrm>
          <a:prstGeom prst="rect">
            <a:avLst/>
          </a:prstGeom>
        </p:spPr>
      </p:pic>
      <p:sp>
        <p:nvSpPr>
          <p:cNvPr id="5" name="Marcador de posición de imagen 4">
            <a:extLst>
              <a:ext uri="{FF2B5EF4-FFF2-40B4-BE49-F238E27FC236}">
                <a16:creationId xmlns="" xmlns:a16="http://schemas.microsoft.com/office/drawing/2014/main" id="{0594BF77-0851-EB45-9E81-37B1FA31036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4425" y="0"/>
            <a:ext cx="6327574" cy="9001125"/>
          </a:xfrm>
          <a:prstGeom prst="rect">
            <a:avLst/>
          </a:prstGeom>
        </p:spPr>
        <p:txBody>
          <a:bodyPr/>
          <a:lstStyle>
            <a:lvl1pPr>
              <a:defRPr sz="2100">
                <a:solidFill>
                  <a:schemeClr val="tx2"/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493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1">
          <p15:clr>
            <a:srgbClr val="FBAE40"/>
          </p15:clr>
        </p15:guide>
        <p15:guide id="4" pos="3358">
          <p15:clr>
            <a:srgbClr val="FBAE40"/>
          </p15:clr>
        </p15:guide>
        <p15:guide id="5" orient="horz" pos="3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90536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=""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19583" y="2300981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9583" y="4650248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9583" y="6942212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6333810" y="23736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6333810" y="4714261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6328473" y="7014926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9821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17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6333810" y="23535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5035" y="2283231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35035" y="3922509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35035" y="553881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635035" y="715511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6333810" y="399013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6333810" y="560947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6333810" y="7223069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087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5993980" algn="l"/>
              </a:tabLst>
              <a:defRPr sz="3145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8715" y="2302874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48715" y="356813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8715" y="4833383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48715" y="609864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8715" y="736389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6420140" y="2434764"/>
            <a:ext cx="0" cy="6566371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6331137" y="2345751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6331137" y="7414609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6331137" y="3630792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6331137" y="6160285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6331137" y="4893450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9041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185">
          <p15:clr>
            <a:srgbClr val="FBAE40"/>
          </p15:clr>
        </p15:guide>
        <p15:guide id="9" orient="horz" pos="43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27" y="3247853"/>
            <a:ext cx="202347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8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1">
                <a:solidFill>
                  <a:schemeClr val="bg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3054" y="3247853"/>
            <a:ext cx="201878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895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6612" y="3247853"/>
            <a:ext cx="201173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09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9879" y="3247853"/>
            <a:ext cx="2023471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43985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62504" y="3247853"/>
            <a:ext cx="202347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62504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328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278">
          <p15:clr>
            <a:srgbClr val="FBAE40"/>
          </p15:clr>
        </p15:guide>
        <p15:guide id="5" pos="33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002" y="5358054"/>
            <a:ext cx="2507527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312"/>
              </a:spcBef>
              <a:spcAft>
                <a:spcPts val="1312"/>
              </a:spcAft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944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07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60196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85372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Work\ACHS\138_Trailer ppts\03_EmergenciaEvacuación\imags\port0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" y="0"/>
            <a:ext cx="15997834" cy="900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601495" y="1362000"/>
            <a:ext cx="4799013" cy="495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623" dirty="0">
                <a:solidFill>
                  <a:prstClr val="white"/>
                </a:solidFill>
                <a:latin typeface="Tw Cen MT" pitchFamily="34" charset="0"/>
                <a:cs typeface="Arial" pitchFamily="34" charset="0"/>
              </a:rPr>
              <a:t>VIDEO: ¿QUÉ ES LA ACHS?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434830" y="2137800"/>
            <a:ext cx="1132341" cy="65683"/>
            <a:chOff x="5012716" y="1129776"/>
            <a:chExt cx="3148718" cy="103072"/>
          </a:xfrm>
        </p:grpSpPr>
        <p:sp>
          <p:nvSpPr>
            <p:cNvPr id="11" name="Rounded Rectangle 10"/>
            <p:cNvSpPr/>
            <p:nvPr/>
          </p:nvSpPr>
          <p:spPr>
            <a:xfrm>
              <a:off x="5012716" y="1129776"/>
              <a:ext cx="1623093" cy="1030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910165" y="1129776"/>
              <a:ext cx="660462" cy="1030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831205" y="1129776"/>
              <a:ext cx="330229" cy="1030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6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itchFamily="34" charset="0"/>
              </a:endParaRPr>
            </a:p>
          </p:txBody>
        </p:sp>
      </p:grpSp>
      <p:pic>
        <p:nvPicPr>
          <p:cNvPr id="14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-1636562" y="-224963"/>
            <a:ext cx="9637561" cy="945105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000999" y="-224963"/>
            <a:ext cx="9637561" cy="945105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6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5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495E-6 -3.7037E-7 L 0.2715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6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 animBg="1"/>
      <p:bldP spid="15" grpId="0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989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23115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7324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091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662768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27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582366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13314" y="3610359"/>
            <a:ext cx="166176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4384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12239700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64935" y="3610359"/>
            <a:ext cx="1742445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43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8380433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11387" y="3610359"/>
            <a:ext cx="1836380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199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4482197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7566" y="3610359"/>
            <a:ext cx="175896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2231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8219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38043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249573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</p:spTree>
    <p:extLst>
      <p:ext uri="{BB962C8B-B14F-4D97-AF65-F5344CB8AC3E}">
        <p14:creationId xmlns:p14="http://schemas.microsoft.com/office/powerpoint/2010/main" val="2316668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  <p15:guide id="4" orient="horz" pos="2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37326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medios 8">
            <a:extLst>
              <a:ext uri="{FF2B5EF4-FFF2-40B4-BE49-F238E27FC236}">
                <a16:creationId xmlns="" xmlns:a16="http://schemas.microsoft.com/office/drawing/2014/main" id="{B50F09F5-DFBA-914B-B374-0A611E354B16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Insertar Vide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  <a:highlight>
                  <a:srgbClr val="004F59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="" xmlns:a16="http://schemas.microsoft.com/office/drawing/2014/main" id="{1BDF212F-F0A1-C249-8021-3BAB18C79B0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635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67">
          <p15:clr>
            <a:srgbClr val="FBAE40"/>
          </p15:clr>
        </p15:guide>
        <p15:guide id="4" pos="589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7" name="Marcador de texto 2">
            <a:extLst>
              <a:ext uri="{FF2B5EF4-FFF2-40B4-BE49-F238E27FC236}">
                <a16:creationId xmlns="" xmlns:a16="http://schemas.microsoft.com/office/drawing/2014/main" id="{E9B64F24-F822-574E-B187-6EE8A12CB4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72" y="2127351"/>
            <a:ext cx="6670715" cy="84693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 b="1">
                <a:solidFill>
                  <a:schemeClr val="tx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A94FAB7-6C84-9C45-B972-6903FF920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825198" y="2782967"/>
            <a:ext cx="4164628" cy="5697270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DEC83E7D-5280-9340-AA1D-4E0B3B7B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14188" y="2127351"/>
            <a:ext cx="6296440" cy="84693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 b="1">
                <a:solidFill>
                  <a:schemeClr val="tx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CB79A3D-90F5-2046-9941-CC131C5067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9626" y="2782967"/>
            <a:ext cx="6216213" cy="569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0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67">
          <p15:clr>
            <a:srgbClr val="FBAE40"/>
          </p15:clr>
        </p15:guide>
        <p15:guide id="4" pos="589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0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18524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16455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76278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98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6367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33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/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0217BBB0-F8CF-654F-8533-C0D0CE94A1DF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tx2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503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lo texto y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2560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lo texto y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/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1F8842AD-E05A-0F45-8A8A-37431DBD738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8617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333086C-D4D2-BC41-8D23-66AB3DB0C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1CEF97AF-E50E-F247-98FC-7FB6FC2DFFE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F4EE69C-994D-B54F-88AE-FEC32892E1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8750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93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, sub titulo y logo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904E778F-A13F-5640-8DFB-735443F01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2159500B-EE7D-4543-ACA3-AE25BD6887C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DBEC4E9D-A2F1-4644-8BDF-6223E8BD35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3541E17-32DC-304A-AF37-ADA7A69CC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2994" y="1543345"/>
            <a:ext cx="12501372" cy="745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9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12095018" y="4909264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=""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3808879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7392474" y="3080252"/>
            <a:ext cx="1" cy="446342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232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32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=""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8093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8093" y="4796585"/>
            <a:ext cx="2615807" cy="2747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93141" y="4091500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2100" b="1" dirty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Título Arial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s-ES" dirty="0"/>
              <a:t>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3141" y="4811621"/>
            <a:ext cx="2615807" cy="27320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=""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4491" y="3272209"/>
            <a:ext cx="3130613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=""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4491" y="3964604"/>
            <a:ext cx="3130613" cy="343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=""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17808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=""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793141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=""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96098" y="303282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="" xmlns:a16="http://schemas.microsoft.com/office/drawing/2014/main" id="{535EAA60-8045-0240-8A28-73BA9C14F5A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7804"/>
            <a:ext cx="10994162" cy="504025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6" name="Línea">
            <a:extLst>
              <a:ext uri="{FF2B5EF4-FFF2-40B4-BE49-F238E27FC236}">
                <a16:creationId xmlns=""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11171351" y="3042783"/>
            <a:ext cx="367606" cy="4500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25E4DCC9-BFDD-214C-8A37-D2631A73A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7BEEAA3-8A69-6742-A85F-8DE31548C73D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14500FF3-659D-5B46-B3EA-B3149442A4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11530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=""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7561139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1430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3927" y="5229646"/>
            <a:ext cx="2615807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10330" y="5229656"/>
            <a:ext cx="2615807" cy="2907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3905375" y="2479245"/>
            <a:ext cx="0" cy="5720748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4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=""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3927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=""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0330" y="4494389"/>
            <a:ext cx="2615807" cy="614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=""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1429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=""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63927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=""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910324" y="2479423"/>
            <a:ext cx="2125266" cy="1592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12051342" y="4914802"/>
            <a:ext cx="335475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71012" y="266895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71012" y="3443908"/>
            <a:ext cx="3127297" cy="45223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9170" y="8488767"/>
            <a:ext cx="10994162" cy="488022"/>
          </a:xfrm>
          <a:prstGeom prst="rect">
            <a:avLst/>
          </a:prstGeom>
        </p:spPr>
        <p:txBody>
          <a:bodyPr anchor="t"/>
          <a:lstStyle>
            <a:lvl1pPr marL="299697" marR="0" indent="-299697" algn="l" defTabSz="1597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1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marL="299697" marR="0" lvl="0" indent="-299697" algn="l" defTabSz="1597354" eaLnBrk="1" fontAlgn="auto" latinLnBrk="0" hangingPunct="1">
              <a:lnSpc>
                <a:spcPct val="100000"/>
              </a:lnSpc>
              <a:spcBef>
                <a:spcPts val="131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=""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11171351" y="2493456"/>
            <a:ext cx="367606" cy="56439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F454693-6D1A-2246-86B9-7924B68505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6FE459EB-A05F-0346-B414-0F58EBD5D5E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8957E07-7EBE-8B42-986C-CCD0C8363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65457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06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118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12098593" y="4890809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81156" y="3132275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537557" y="3122932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300" y="3396024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1156" y="4727930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=""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2537557" y="4718587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300" y="4991679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81156" y="6319661"/>
            <a:ext cx="7024653" cy="1158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=""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2537557" y="6310319"/>
            <a:ext cx="0" cy="1166201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300" y="6583411"/>
            <a:ext cx="166524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186597" y="3283140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186597" y="3952728"/>
            <a:ext cx="3127297" cy="336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3" name="Marcador de texto 4">
            <a:extLst>
              <a:ext uri="{FF2B5EF4-FFF2-40B4-BE49-F238E27FC236}">
                <a16:creationId xmlns="" xmlns:a16="http://schemas.microsoft.com/office/drawing/2014/main" id="{7E4CF988-A96C-B747-AC71-EB9FDD4EAE7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3" name="Línea">
            <a:extLst>
              <a:ext uri="{FF2B5EF4-FFF2-40B4-BE49-F238E27FC236}">
                <a16:creationId xmlns=""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10918402" y="3078348"/>
            <a:ext cx="367606" cy="4394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=""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396EC5D0-EB4A-3A42-8898-1FDF29DB24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2" name="Conector recto 31">
            <a:extLst>
              <a:ext uri="{FF2B5EF4-FFF2-40B4-BE49-F238E27FC236}">
                <a16:creationId xmlns="" xmlns:a16="http://schemas.microsoft.com/office/drawing/2014/main" id="{26AB80EE-EB42-3B4D-A955-092EDBA364E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A238EFE4-5978-AF43-A7D8-8F70217F9A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3487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80">
          <p15:clr>
            <a:srgbClr val="FBAE40"/>
          </p15:clr>
        </p15:guide>
        <p15:guide id="2" pos="280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12094521" y="4820672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=""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11308403" y="2801702"/>
            <a:ext cx="367606" cy="4819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8075" y="280170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10208" y="3225359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=""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9690" y="280170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4844470" y="280170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8075" y="4500614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10208" y="4861927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690" y="4500614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4844470" y="4500614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8075" y="6198132"/>
            <a:ext cx="5293752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10208" y="6621788"/>
            <a:ext cx="1679248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=""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690" y="6198132"/>
            <a:ext cx="1936393" cy="14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12"/>
            </a:lvl1pPr>
          </a:lstStyle>
          <a:p>
            <a:r>
              <a:rPr lang="es-CL" dirty="0"/>
              <a:t>Doble click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=""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4844470" y="6198132"/>
            <a:ext cx="0" cy="14175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895063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587456"/>
            <a:ext cx="3127297" cy="3893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="" xmlns:a16="http://schemas.microsoft.com/office/drawing/2014/main" id="{3A8DF9D6-5EAA-1441-80FE-873F0F2A7A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2990" y="8480226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5ED000E-D5A6-F144-A663-DE3BA9659C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C321E7CF-1D96-004A-B00A-89BB11E1F662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65EEA7E1-D0E6-3F46-BEDD-59A005047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95619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0CCCE32A-0599-45EA-B81F-3A370EA4CA18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61" dirty="0">
              <a:solidFill>
                <a:prstClr val="white"/>
              </a:solidFill>
            </a:endParaRPr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20105" y="396199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01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12094520" y="4740190"/>
            <a:ext cx="3307500" cy="780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marL="0" marR="0" indent="0" algn="ctr" defTabSz="108224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195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599980" y="4091035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34660" y="2846979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6556" y="2846979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36555" y="2275674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=""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3136556" y="2680619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9658" y="2846979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=""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599980" y="6153793"/>
            <a:ext cx="1055766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=""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34660" y="4909736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136556" y="4909736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136555" y="4338432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3136556" y="4743376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89658" y="4909736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334660" y="6973852"/>
            <a:ext cx="1631069" cy="968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6556" y="6973852"/>
            <a:ext cx="8021094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136555" y="6402548"/>
            <a:ext cx="5364511" cy="37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=""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3136556" y="6807493"/>
            <a:ext cx="8021094" cy="386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=""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89658" y="6973852"/>
            <a:ext cx="614250" cy="524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03990" y="2536577"/>
            <a:ext cx="3127297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03990" y="3291316"/>
            <a:ext cx="3127297" cy="45330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7CE877C8-6FB2-CF43-A084-04A7252530E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gunda fuente Arial 9</a:t>
            </a:r>
          </a:p>
        </p:txBody>
      </p: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11464412" y="2289966"/>
            <a:ext cx="367606" cy="5672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33301" tIns="33301" rIns="33301" bIns="33301" anchor="ctr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 dirty="0">
              <a:latin typeface="Arial"/>
              <a:cs typeface="Arial"/>
              <a:sym typeface="Arial"/>
            </a:endParaRPr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=""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30" name="Marcador de texto 7">
            <a:extLst>
              <a:ext uri="{FF2B5EF4-FFF2-40B4-BE49-F238E27FC236}">
                <a16:creationId xmlns="" xmlns:a16="http://schemas.microsoft.com/office/drawing/2014/main" id="{2126314B-96AE-6A44-81BF-02ABCCDC3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CEC4F83F-C3E6-C749-981A-0852F322060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C0822B04-AEDE-8844-9C60-0E23AD5314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75946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=""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14653" y="2722917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=""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589658" y="2722927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60" name="Flecha">
            <a:extLst>
              <a:ext uri="{FF2B5EF4-FFF2-40B4-BE49-F238E27FC236}">
                <a16:creationId xmlns=""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926760" y="2722927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=""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26762" y="2146121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926765" y="2536771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=""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4658" y="2146121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5814653" y="2536771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14098" y="2722926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4098" y="2146121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=""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2536771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5006" y="2754826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4460" y="2754826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=""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14653" y="4840828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=""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589658" y="4840833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100" name="Flecha">
            <a:extLst>
              <a:ext uri="{FF2B5EF4-FFF2-40B4-BE49-F238E27FC236}">
                <a16:creationId xmlns=""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926760" y="4840833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26762" y="4264038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926759" y="4654683"/>
            <a:ext cx="267393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=""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14658" y="4264038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4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=""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5814653" y="4654683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=""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314098" y="4840830"/>
            <a:ext cx="3090458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314098" y="4264038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=""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12314098" y="4654683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15006" y="4872746"/>
            <a:ext cx="2102845" cy="583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=""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4460" y="4872737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=""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14653" y="7156845"/>
            <a:ext cx="6169676" cy="9669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=""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589658" y="7156856"/>
            <a:ext cx="1985571" cy="69354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dirty="0"/>
          </a:p>
        </p:txBody>
      </p:sp>
      <p:sp>
        <p:nvSpPr>
          <p:cNvPr id="113" name="Flecha">
            <a:extLst>
              <a:ext uri="{FF2B5EF4-FFF2-40B4-BE49-F238E27FC236}">
                <a16:creationId xmlns=""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926760" y="7156856"/>
            <a:ext cx="2389335" cy="69354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99697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57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926762" y="6580054"/>
            <a:ext cx="2673940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=""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926765" y="6970699"/>
            <a:ext cx="267435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=""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48858" y="6580054"/>
            <a:ext cx="3997686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=""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5833267" y="6970699"/>
            <a:ext cx="616967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=""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14093" y="7156854"/>
            <a:ext cx="3090150" cy="9686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=""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348300" y="6580054"/>
            <a:ext cx="3053727" cy="287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=""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12348299" y="6970699"/>
            <a:ext cx="3090458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=""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015006" y="7188754"/>
            <a:ext cx="2102845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=""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4460" y="7188754"/>
            <a:ext cx="1716756" cy="617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4">
            <a:extLst>
              <a:ext uri="{FF2B5EF4-FFF2-40B4-BE49-F238E27FC236}">
                <a16:creationId xmlns="" xmlns:a16="http://schemas.microsoft.com/office/drawing/2014/main" id="{5A23BCE0-B3C8-6349-8275-A9F9C29862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0080" y="8499678"/>
            <a:ext cx="10994162" cy="488022"/>
          </a:xfrm>
          <a:prstGeom prst="rect">
            <a:avLst/>
          </a:prstGeom>
        </p:spPr>
        <p:txBody>
          <a:bodyPr/>
          <a:lstStyle>
            <a:lvl1pPr marL="299697" indent="-299697">
              <a:lnSpc>
                <a:spcPct val="100000"/>
              </a:lnSpc>
              <a:spcBef>
                <a:spcPts val="131"/>
              </a:spcBef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118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fuente Arial 9</a:t>
            </a:r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=""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1EBA4C2B-415F-F647-8DDB-B89719D2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51" name="Conector recto 50">
            <a:extLst>
              <a:ext uri="{FF2B5EF4-FFF2-40B4-BE49-F238E27FC236}">
                <a16:creationId xmlns="" xmlns:a16="http://schemas.microsoft.com/office/drawing/2014/main" id="{39D63CAF-5D43-CF41-B5C6-DB3590DD9B6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2" name="Marcador de texto 7">
            <a:extLst>
              <a:ext uri="{FF2B5EF4-FFF2-40B4-BE49-F238E27FC236}">
                <a16:creationId xmlns="" xmlns:a16="http://schemas.microsoft.com/office/drawing/2014/main" id="{973FAB7E-A456-F442-8185-B05E394C5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4023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=""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9662" y="2127351"/>
            <a:ext cx="14812363" cy="62086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9600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991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8797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98393" indent="0">
              <a:buFontTx/>
              <a:buNone/>
              <a:defRPr sz="1706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F8D15FBA-E309-7841-A774-A131E4439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9A186DD1-24AC-5146-808E-C8D243C0762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48673D1-134B-6041-B11F-D6B0AB5EF9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6589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0593" y="2655556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361" y="2882528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958296" y="2596306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90593" y="4088304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65361" y="4315276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958296" y="402905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90593" y="5521052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5361" y="5748024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958296" y="5461802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90593" y="6953799"/>
            <a:ext cx="9182499" cy="995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65361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958296" y="6894551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=""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289712" y="27293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=""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289712" y="41452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=""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289712" y="5574674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72925" y="70040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ABA5F40A-3B8B-424C-BB2D-DB2FE8043F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F00B6F94-336F-6C45-B09A-2B54444109B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BB17032C-0F93-3144-A7BD-E7670DF717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4413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2" pos="2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809" y="2188777"/>
            <a:ext cx="4744444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1572" y="2415749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4724506" y="212952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6804" y="377711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31572" y="400409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4724506" y="3723064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6804" y="5365458"/>
            <a:ext cx="4739175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31572" y="5592430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4724506" y="5316600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56809" y="6953799"/>
            <a:ext cx="4744439" cy="995899"/>
          </a:xfrm>
          <a:prstGeom prst="rect">
            <a:avLst/>
          </a:prstGeom>
        </p:spPr>
        <p:txBody>
          <a:bodyPr/>
          <a:lstStyle>
            <a:lvl1pPr marL="224776" indent="-224776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1572" y="7180772"/>
            <a:ext cx="1650206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4724506" y="6910137"/>
            <a:ext cx="0" cy="111439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030550" y="2188778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030550" y="5159040"/>
            <a:ext cx="4362004" cy="279274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75">
                <a:solidFill>
                  <a:schemeClr val="accent3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55923" y="2262596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55923" y="3847582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055923" y="5432567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055923" y="7017553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=""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DB616B56-1C98-BE46-90F9-A7ECD693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083ABBE-7E08-4446-9B1A-B775BB2E303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C48A1F36-466C-1043-87C1-B756E5297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73233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1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=""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770665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037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=""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2993" y="3892086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=""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11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=""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70665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=""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29037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=""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2993" y="6660614"/>
            <a:ext cx="1945457" cy="8334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=""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08115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=""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302993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=""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029032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=""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1770660" y="552468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=""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302993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=""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29032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=""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1770660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=""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08115" y="2760298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9B217198-0325-2343-8826-2BB07C45F3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DEFE2DED-0681-564C-B5DA-C9707DEC98D3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85D0DB1A-42C3-6F4B-9095-3EDE2D6A3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019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81">
          <p15:clr>
            <a:srgbClr val="FBAE40"/>
          </p15:clr>
        </p15:guide>
        <p15:guide id="3" pos="5632">
          <p15:clr>
            <a:srgbClr val="FBAE40"/>
          </p15:clr>
        </p15:guide>
        <p15:guide id="4" pos="3840">
          <p15:clr>
            <a:srgbClr val="FBAE40"/>
          </p15:clr>
        </p15:guide>
        <p15:guide id="5" pos="204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=""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3268230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=""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79" y="2248306"/>
            <a:ext cx="10151514" cy="338834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726154" y="3671443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=""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869965" y="3749335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=""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10164727" y="4981702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=""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10316573" y="5052340"/>
            <a:ext cx="269559" cy="409086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=""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6761535" y="2327379"/>
            <a:ext cx="542071" cy="542070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33301" tIns="33301" rIns="33301" bIns="33301" numCol="1" anchor="ctr">
            <a:noAutofit/>
          </a:bodyPr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=""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6902791" y="2405260"/>
            <a:ext cx="269559" cy="4090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62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=""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6622743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=""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10009859" y="6249286"/>
            <a:ext cx="2756524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=""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8230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1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=""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9045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tx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=""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859" y="6561841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>
              <a:buClr>
                <a:schemeClr val="bg2"/>
              </a:buClr>
              <a:buSzPct val="80000"/>
              <a:buFont typeface="Wingdings" pitchFamily="2" charset="2"/>
              <a:buChar char="§"/>
              <a:defRPr sz="2100" b="0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=""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68230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1"/>
              </a:buClr>
              <a:buSzPct val="80000"/>
              <a:buFontTx/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39045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tx2"/>
              </a:buClr>
              <a:buSzPct val="80000"/>
              <a:buFontTx/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09859" y="3661479"/>
            <a:ext cx="2756524" cy="995899"/>
          </a:xfrm>
          <a:prstGeom prst="rect">
            <a:avLst/>
          </a:prstGeom>
        </p:spPr>
        <p:txBody>
          <a:bodyPr/>
          <a:lstStyle>
            <a:lvl1pPr marL="224776" indent="-224776" algn="ctr">
              <a:buClr>
                <a:schemeClr val="bg2"/>
              </a:buClr>
              <a:buSzPct val="80000"/>
              <a:buFontTx/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4807BBE-DF36-9645-BE4E-3486868EF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3C1110E9-A7AE-874A-A8A4-0C61FCC549F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CE8087DE-913C-CE43-A9AD-19E1C79C5C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7954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pos="120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=""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565413" y="4500562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575" dirty="0"/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8542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 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538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539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=""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4311340" y="3421628"/>
            <a:ext cx="3591075" cy="5579507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51735" y="5533080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730" y="4103903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1736" y="4837416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=""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805726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5837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5837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15843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=""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11803182" y="4499024"/>
            <a:ext cx="3591075" cy="45021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5398" y="6610485"/>
            <a:ext cx="2869543" cy="2020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explicativo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125393" y="5181308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45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125397" y="5914822"/>
            <a:ext cx="1758162" cy="331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923FBA97-E4C3-5E41-BDE8-E626368C78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6D2B90F-BF7C-5749-A862-DAE4947F632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4B6FA18-E24C-1C4B-AA39-656A4DB12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198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=""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=""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572994" y="3410844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7623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62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8761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=""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4311339" y="3409802"/>
            <a:ext cx="3591075" cy="5621537"/>
          </a:xfrm>
          <a:prstGeom prst="rect">
            <a:avLst/>
          </a:prstGeom>
          <a:solidFill>
            <a:schemeClr val="accent4"/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816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10815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10808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=""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8057261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4927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74926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74910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=""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11803180" y="3409802"/>
            <a:ext cx="3591075" cy="56215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1197755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4720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84482" y="3767431"/>
            <a:ext cx="1650206" cy="671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084482" y="4500946"/>
            <a:ext cx="3067039" cy="16273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CL" dirty="0"/>
              <a:t>Texto explicativ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2084465" y="6368514"/>
            <a:ext cx="3067051" cy="19231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0DF2D4F5-BFF4-BA42-A5F2-9F63B0B8C8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9FF6CE03-CA68-3A41-8651-B0B0DBE026D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10623B86-9F71-884B-B968-29A25EF80A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470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20201" y="2139049"/>
            <a:ext cx="9652559" cy="60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91238" y="2139050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91238" y="5302324"/>
            <a:ext cx="4723717" cy="2934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0D5B4A80-FF98-5043-9DB4-65A4E4D2B4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1A2BD6C8-D199-F243-AC0C-40BCCDBBEE9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8393B422-31BD-8F49-8CAF-F352986358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01090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7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ra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="" xmlns:a16="http://schemas.microsoft.com/office/drawing/2014/main" id="{953188DC-3A67-40B2-849A-612769CB307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23802" y="0"/>
            <a:ext cx="6678198" cy="9001125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1575"/>
            </a:lvl1pPr>
          </a:lstStyle>
          <a:p>
            <a:endParaRPr lang="en-US" dirty="0"/>
          </a:p>
        </p:txBody>
      </p:sp>
      <p:pic>
        <p:nvPicPr>
          <p:cNvPr id="3" name="Picture 2" descr="G:\Work\ACHS\Logos\log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31554" y="588538"/>
            <a:ext cx="1007785" cy="9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42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0930" y="833438"/>
            <a:ext cx="9299079" cy="73780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=""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358593" y="833437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=""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58593" y="4661000"/>
            <a:ext cx="5038130" cy="3550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</p:spTree>
    <p:extLst>
      <p:ext uri="{BB962C8B-B14F-4D97-AF65-F5344CB8AC3E}">
        <p14:creationId xmlns:p14="http://schemas.microsoft.com/office/powerpoint/2010/main" val="1685935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6002000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312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73DB92C-D7BC-D841-9636-BA32205DEC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1FC4C35B-D955-E047-9893-C6E4CC236A38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9E69417E-6B74-E443-B820-1EE059052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86844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787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915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842F5C6-0515-1145-9807-C80362D28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593826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rgbClr val="004F59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4934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51915D89-6592-B349-92CA-2C1DC6AF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4F59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50562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72B59E6F-F136-6641-AB57-1842D5D3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418756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de Portadilla capitulo c titulo y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F6EE129-4872-0A4A-B055-6213AA0EA0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19AEBDCF-F640-B141-94AC-8D95A0E222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FEBE4AB-C2D5-C14F-9C76-26149131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665848"/>
            <a:ext cx="12253801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773D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6279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Achs_si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2A0A78E-9C19-6E4A-A9C5-010B72700B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9275DFA3-80D5-1740-B90A-EB45398A631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00133179-9783-FE43-9A77-EC2141CDFCD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4FE243A2-320F-5C4F-849B-AE525629BA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701615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de Achs_sin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640811A-8CC8-A046-A4CF-F235EF5F64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2062270F-C64B-6540-AA09-829F60E762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747E280-0B20-7149-B59B-3D4EA440D82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6CC95EA1-DB75-9F47-A02F-9BE0DB0D56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42315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4415" y="5784060"/>
            <a:ext cx="13602325" cy="1787723"/>
          </a:xfrm>
          <a:prstGeom prst="rect">
            <a:avLst/>
          </a:prstGeom>
        </p:spPr>
        <p:txBody>
          <a:bodyPr anchor="t"/>
          <a:lstStyle>
            <a:lvl1pPr algn="l">
              <a:defRPr sz="5247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4415" y="3815062"/>
            <a:ext cx="13602325" cy="196899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23">
                <a:solidFill>
                  <a:schemeClr val="tx1">
                    <a:tint val="75000"/>
                  </a:schemeClr>
                </a:solidFill>
              </a:defRPr>
            </a:lvl1pPr>
            <a:lvl2pPr marL="599758" indent="0">
              <a:buNone/>
              <a:defRPr sz="2361">
                <a:solidFill>
                  <a:schemeClr val="tx1">
                    <a:tint val="75000"/>
                  </a:schemeClr>
                </a:solidFill>
              </a:defRPr>
            </a:lvl2pPr>
            <a:lvl3pPr marL="119951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99274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4pPr>
            <a:lvl5pPr marL="2399031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5pPr>
            <a:lvl6pPr marL="2998789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6pPr>
            <a:lvl7pPr marL="3598547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7pPr>
            <a:lvl8pPr marL="4198305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8pPr>
            <a:lvl9pPr marL="4798063" indent="0">
              <a:buNone/>
              <a:defRPr sz="183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385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Achs_si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00FF3ED5-CC62-284F-960E-CC143DB8E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412316CD-85B2-1F4A-9F37-E12D776066E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B4B865D6-A588-344B-B0D4-C631F4CA6C6F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26DEB4F9-DC74-FA40-B2D6-FE63917C3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531406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C54188A-B9E9-1D4B-8950-07E76EB984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487C25FB-2509-FF4C-9730-F2421E8A6DE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3559D8E-DA94-FE4A-8F9E-B86ECB18AC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532171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0" y="1638873"/>
            <a:ext cx="7767230" cy="2390233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6181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EBAE79F-82DE-FA46-9E55-37BE80AA7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09" b="9220"/>
          <a:stretch/>
        </p:blipFill>
        <p:spPr>
          <a:xfrm>
            <a:off x="5" y="0"/>
            <a:ext cx="16019877" cy="90011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597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de Portadilla capitulo c titulo y logo">
    <p:bg>
      <p:bgPr>
        <a:solidFill>
          <a:srgbClr val="F0B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F4FC2CC-9110-8647-AB81-F21ACEBC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45" b="3683"/>
          <a:stretch/>
        </p:blipFill>
        <p:spPr>
          <a:xfrm>
            <a:off x="0" y="0"/>
            <a:ext cx="15989197" cy="90011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B7C81B1C-716A-524C-87BE-8235AA58E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12076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6" y="0"/>
          <a:ext cx="277813" cy="208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" y="0"/>
                        <a:ext cx="277813" cy="208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=""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8317" y="3240410"/>
            <a:ext cx="3335714" cy="252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901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36376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83B8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6668453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11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792739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064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451795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9892" y="2100266"/>
            <a:ext cx="7101122" cy="5940326"/>
          </a:xfrm>
          <a:prstGeom prst="rect">
            <a:avLst/>
          </a:prstGeom>
        </p:spPr>
        <p:txBody>
          <a:bodyPr/>
          <a:lstStyle>
            <a:lvl1pPr>
              <a:defRPr sz="3673"/>
            </a:lvl1pPr>
            <a:lvl2pPr>
              <a:defRPr sz="3148"/>
            </a:lvl2pPr>
            <a:lvl3pPr>
              <a:defRPr sz="2623"/>
            </a:lvl3pPr>
            <a:lvl4pPr>
              <a:defRPr sz="2361"/>
            </a:lvl4pPr>
            <a:lvl5pPr>
              <a:defRPr sz="2361"/>
            </a:lvl5pPr>
            <a:lvl6pPr>
              <a:defRPr sz="2361"/>
            </a:lvl6pPr>
            <a:lvl7pPr>
              <a:defRPr sz="2361"/>
            </a:lvl7pPr>
            <a:lvl8pPr>
              <a:defRPr sz="2361"/>
            </a:lvl8pPr>
            <a:lvl9pPr>
              <a:defRPr sz="236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0988" y="2100266"/>
            <a:ext cx="7101121" cy="5940326"/>
          </a:xfrm>
          <a:prstGeom prst="rect">
            <a:avLst/>
          </a:prstGeom>
        </p:spPr>
        <p:txBody>
          <a:bodyPr/>
          <a:lstStyle>
            <a:lvl1pPr>
              <a:defRPr sz="3673"/>
            </a:lvl1pPr>
            <a:lvl2pPr>
              <a:defRPr sz="3148"/>
            </a:lvl2pPr>
            <a:lvl3pPr>
              <a:defRPr sz="2623"/>
            </a:lvl3pPr>
            <a:lvl4pPr>
              <a:defRPr sz="2361"/>
            </a:lvl4pPr>
            <a:lvl5pPr>
              <a:defRPr sz="2361"/>
            </a:lvl5pPr>
            <a:lvl6pPr>
              <a:defRPr sz="2361"/>
            </a:lvl6pPr>
            <a:lvl7pPr>
              <a:defRPr sz="2361"/>
            </a:lvl7pPr>
            <a:lvl8pPr>
              <a:defRPr sz="2361"/>
            </a:lvl8pPr>
            <a:lvl9pPr>
              <a:defRPr sz="236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540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0B972A3-E7F3-0A4F-BEE6-2EE7AC84380C}"/>
              </a:ext>
            </a:extLst>
          </p:cNvPr>
          <p:cNvSpPr/>
          <p:nvPr userDrawn="1"/>
        </p:nvSpPr>
        <p:spPr>
          <a:xfrm>
            <a:off x="1" y="0"/>
            <a:ext cx="16002000" cy="9001125"/>
          </a:xfrm>
          <a:prstGeom prst="rect">
            <a:avLst/>
          </a:prstGeom>
          <a:solidFill>
            <a:srgbClr val="FDB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358" dirty="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645024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27FC5C6-A3C9-B245-94AB-13439C597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667" y="-25120"/>
            <a:ext cx="16094281" cy="907931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18404275-C21C-B344-92AA-B363C5F8F2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2E94A797-3320-F543-B24F-6FE8F5A4A301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rgbClr val="0D693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19171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73772" y="7255726"/>
            <a:ext cx="1364557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0C662F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0C662F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=""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3718381" cy="9001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k para incorporar un video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D10FCCA8-322A-C443-B02C-264CC9F3E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985" y="1664802"/>
            <a:ext cx="7767230" cy="2653682"/>
          </a:xfrm>
          <a:prstGeom prst="rect">
            <a:avLst/>
          </a:prstGeom>
        </p:spPr>
        <p:txBody>
          <a:bodyPr/>
          <a:lstStyle>
            <a:lvl1pPr>
              <a:lnSpc>
                <a:spcPts val="5245"/>
              </a:lnSpc>
              <a:defRPr sz="5245">
                <a:solidFill>
                  <a:schemeClr val="bg1"/>
                </a:solidFill>
                <a:highlight>
                  <a:srgbClr val="C98539"/>
                </a:highlight>
              </a:defRPr>
            </a:lvl1pPr>
          </a:lstStyle>
          <a:p>
            <a:r>
              <a:rPr lang="es-ES" dirty="0"/>
              <a:t>Título presentación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40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73772" y="8277979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02689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9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9" r="5852"/>
          <a:stretch/>
        </p:blipFill>
        <p:spPr>
          <a:xfrm>
            <a:off x="0" y="0"/>
            <a:ext cx="13718381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032854" y="7690285"/>
            <a:ext cx="1417145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106737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106737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106737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356974" y="593835"/>
            <a:ext cx="1045047" cy="1045048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984" y="8216794"/>
            <a:ext cx="1364557" cy="520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7" b="0">
                <a:solidFill>
                  <a:srgbClr val="106737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680016"/>
            <a:ext cx="7401020" cy="25497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2"/>
                </a:solidFill>
                <a:highlight>
                  <a:srgbClr val="106737"/>
                </a:highlight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93885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6726">
          <p15:clr>
            <a:srgbClr val="FBAE40"/>
          </p15:clr>
        </p15:guide>
        <p15:guide id="3" orient="horz" pos="4168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rtada con patron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=""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0" r="6404"/>
          <a:stretch/>
        </p:blipFill>
        <p:spPr>
          <a:xfrm>
            <a:off x="1" y="0"/>
            <a:ext cx="16002000" cy="9001125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4123715" y="7255724"/>
            <a:ext cx="1502426" cy="8481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83B727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83B727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83B727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23720" y="8277979"/>
            <a:ext cx="1566531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985" y="1523108"/>
            <a:ext cx="7401020" cy="36726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3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="" xmlns:a16="http://schemas.microsoft.com/office/drawing/2014/main" id="{E3E943E2-2E14-7347-9CE0-C80FFE6C2A3C}"/>
              </a:ext>
            </a:extLst>
          </p:cNvPr>
          <p:cNvSpPr txBox="1"/>
          <p:nvPr userDrawn="1"/>
        </p:nvSpPr>
        <p:spPr>
          <a:xfrm>
            <a:off x="-1112335" y="3114146"/>
            <a:ext cx="358933" cy="1762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6606" tIns="66606" rIns="66606" bIns="66606" numCol="1" spcCol="38100" rtlCol="0" anchor="ctr">
            <a:spAutoFit/>
          </a:bodyPr>
          <a:lstStyle/>
          <a:p>
            <a:pPr defTabSz="3196708" hangingPunct="0">
              <a:lnSpc>
                <a:spcPct val="90000"/>
              </a:lnSpc>
              <a:spcBef>
                <a:spcPts val="5901"/>
              </a:spcBef>
            </a:pPr>
            <a:r>
              <a:rPr lang="es-CL" sz="6295" dirty="0">
                <a:solidFill>
                  <a:srgbClr val="000000"/>
                </a:solidFill>
                <a:sym typeface="Helvetica Neue"/>
              </a:rPr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C97B8F6C-6316-0B49-B9D2-1DCA59C9539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78778" y="4807563"/>
            <a:ext cx="3839603" cy="367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17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3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ortada con patr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11384756" y="4095537"/>
            <a:ext cx="4499840" cy="7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spAutoFit/>
          </a:bodyPr>
          <a:lstStyle/>
          <a:p>
            <a:pPr algn="ctr" defTabSz="1082245" hangingPunct="0"/>
            <a:endParaRPr lang="es-ES_tradn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1809704" y="7397078"/>
            <a:ext cx="2665280" cy="565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787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Asociación</a:t>
            </a:r>
            <a:r>
              <a:rPr sz="1837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</a:t>
            </a: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Chilena</a:t>
            </a:r>
            <a:r>
              <a:rPr sz="1837" b="1" dirty="0">
                <a:solidFill>
                  <a:srgbClr val="00857D"/>
                </a:solidFill>
                <a:ea typeface="Arial"/>
                <a:cs typeface="Arial"/>
                <a:sym typeface="Arial"/>
              </a:rPr>
              <a:t> de </a:t>
            </a:r>
            <a:r>
              <a:rPr sz="1837" b="1" dirty="0" err="1">
                <a:solidFill>
                  <a:srgbClr val="00857D"/>
                </a:solidFill>
                <a:ea typeface="Arial"/>
                <a:cs typeface="Arial"/>
                <a:sym typeface="Arial"/>
              </a:rPr>
              <a:t>Seguridad</a:t>
            </a:r>
            <a:endParaRPr sz="1837" b="1" dirty="0">
              <a:solidFill>
                <a:srgbClr val="00857D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626113" y="723166"/>
            <a:ext cx="775912" cy="775912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09699" y="8266525"/>
            <a:ext cx="1364557" cy="661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37" b="0">
                <a:solidFill>
                  <a:schemeClr val="accent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117405" y="91323"/>
            <a:ext cx="11152297" cy="878850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6606" tIns="66606" rIns="66606" bIns="66606" numCol="1" spcCol="38100" rtlCol="0" anchor="ctr">
            <a:noAutofit/>
          </a:bodyPr>
          <a:lstStyle/>
          <a:p>
            <a:pPr algn="ctr" defTabSz="1082245" hangingPunct="0"/>
            <a:endParaRPr lang="es-ES_tradnl" sz="4195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2994" y="1523108"/>
            <a:ext cx="7428011" cy="2662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245"/>
              </a:lnSpc>
              <a:spcBef>
                <a:spcPts val="0"/>
              </a:spcBef>
              <a:buNone/>
              <a:defRPr sz="5245" b="1">
                <a:solidFill>
                  <a:schemeClr val="accent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presentación</a:t>
            </a:r>
          </a:p>
          <a:p>
            <a:pPr lvl="0"/>
            <a:r>
              <a:rPr lang="es-ES" dirty="0"/>
              <a:t>Máximo 3 líneas</a:t>
            </a:r>
          </a:p>
          <a:p>
            <a:pPr lvl="0"/>
            <a:r>
              <a:rPr lang="es-ES" dirty="0"/>
              <a:t>Arial Bold – 4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789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orient="horz" pos="73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=""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87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3 puntos">
    <p:bg>
      <p:bgPr>
        <a:solidFill>
          <a:schemeClr val="accent3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=""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19583" y="2300981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19583" y="4650248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9583" y="6942212"/>
            <a:ext cx="7037568" cy="989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Línea">
            <a:extLst>
              <a:ext uri="{FF2B5EF4-FFF2-40B4-BE49-F238E27FC236}">
                <a16:creationId xmlns=""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6333810" y="23736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6333810" y="4714261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=""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6328473" y="7014926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4E9B333E-F9E9-B640-822A-ECDF87BD7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bg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69FA0287-96F3-5D42-90E6-09CBE56BB314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1208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17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=""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6417471" y="2434755"/>
            <a:ext cx="0" cy="6696821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=""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6333810" y="235356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5035" y="2283231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=""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35035" y="3922509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=""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35035" y="553881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635035" y="715511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Círculo">
            <a:extLst>
              <a:ext uri="{FF2B5EF4-FFF2-40B4-BE49-F238E27FC236}">
                <a16:creationId xmlns=""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6333810" y="399013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=""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6333810" y="5609470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=""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6333810" y="7223069"/>
            <a:ext cx="178006" cy="178007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=""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="" xmlns:a16="http://schemas.microsoft.com/office/drawing/2014/main" id="{8FC2E1CB-47B5-B24C-9758-AA3055BF9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E7E695FD-9A45-7843-9097-C406D605F206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199440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tivos 5 punto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=""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5993980" algn="l"/>
              </a:tabLst>
              <a:defRPr sz="3145"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48715" y="2302874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48715" y="356813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48715" y="4833383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48715" y="6098640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8715" y="7363892"/>
            <a:ext cx="7037568" cy="661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8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=""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6420140" y="2434764"/>
            <a:ext cx="0" cy="6566371"/>
          </a:xfrm>
          <a:prstGeom prst="line">
            <a:avLst/>
          </a:prstGeom>
          <a:ln w="25400">
            <a:solidFill>
              <a:schemeClr val="accent1"/>
            </a:solidFill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=""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6331137" y="2345751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6331137" y="7414609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=""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6331137" y="3630792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=""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6331137" y="6160285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=""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6331137" y="4893450"/>
            <a:ext cx="178006" cy="178007"/>
          </a:xfrm>
          <a:prstGeom prst="ellipse">
            <a:avLst/>
          </a:prstGeom>
          <a:solidFill>
            <a:schemeClr val="accent1"/>
          </a:solidFill>
          <a:ln w="25400">
            <a:noFill/>
            <a:miter lim="400000"/>
          </a:ln>
        </p:spPr>
        <p:txBody>
          <a:bodyPr lIns="33301" tIns="33301" rIns="33301" bIns="33301" anchor="ctr"/>
          <a:lstStyle/>
          <a:p>
            <a:pPr algn="ctr" defTabSz="541122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00" b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=""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73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85">
          <p15:clr>
            <a:srgbClr val="FBAE40"/>
          </p15:clr>
        </p15:guide>
        <p15:guide id="2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893" y="360462"/>
            <a:ext cx="14402217" cy="1500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9894" y="2014836"/>
            <a:ext cx="7069876" cy="8396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148" b="1"/>
            </a:lvl1pPr>
            <a:lvl2pPr marL="599758" indent="0">
              <a:buNone/>
              <a:defRPr sz="2623" b="1"/>
            </a:lvl2pPr>
            <a:lvl3pPr marL="1199516" indent="0">
              <a:buNone/>
              <a:defRPr sz="2361" b="1"/>
            </a:lvl3pPr>
            <a:lvl4pPr marL="1799274" indent="0">
              <a:buNone/>
              <a:defRPr sz="2100" b="1"/>
            </a:lvl4pPr>
            <a:lvl5pPr marL="2399031" indent="0">
              <a:buNone/>
              <a:defRPr sz="2100" b="1"/>
            </a:lvl5pPr>
            <a:lvl6pPr marL="2998789" indent="0">
              <a:buNone/>
              <a:defRPr sz="2100" b="1"/>
            </a:lvl6pPr>
            <a:lvl7pPr marL="3598547" indent="0">
              <a:buNone/>
              <a:defRPr sz="2100" b="1"/>
            </a:lvl7pPr>
            <a:lvl8pPr marL="4198305" indent="0">
              <a:buNone/>
              <a:defRPr sz="2100" b="1"/>
            </a:lvl8pPr>
            <a:lvl9pPr marL="4798063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9894" y="2854523"/>
            <a:ext cx="7069876" cy="5186066"/>
          </a:xfrm>
          <a:prstGeom prst="rect">
            <a:avLst/>
          </a:prstGeom>
        </p:spPr>
        <p:txBody>
          <a:bodyPr/>
          <a:lstStyle>
            <a:lvl1pPr>
              <a:defRPr sz="3148"/>
            </a:lvl1pPr>
            <a:lvl2pPr>
              <a:defRPr sz="2623"/>
            </a:lvl2pPr>
            <a:lvl3pPr>
              <a:defRPr sz="2361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128066" y="2014836"/>
            <a:ext cx="7074042" cy="8396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148" b="1"/>
            </a:lvl1pPr>
            <a:lvl2pPr marL="599758" indent="0">
              <a:buNone/>
              <a:defRPr sz="2623" b="1"/>
            </a:lvl2pPr>
            <a:lvl3pPr marL="1199516" indent="0">
              <a:buNone/>
              <a:defRPr sz="2361" b="1"/>
            </a:lvl3pPr>
            <a:lvl4pPr marL="1799274" indent="0">
              <a:buNone/>
              <a:defRPr sz="2100" b="1"/>
            </a:lvl4pPr>
            <a:lvl5pPr marL="2399031" indent="0">
              <a:buNone/>
              <a:defRPr sz="2100" b="1"/>
            </a:lvl5pPr>
            <a:lvl6pPr marL="2998789" indent="0">
              <a:buNone/>
              <a:defRPr sz="2100" b="1"/>
            </a:lvl6pPr>
            <a:lvl7pPr marL="3598547" indent="0">
              <a:buNone/>
              <a:defRPr sz="2100" b="1"/>
            </a:lvl7pPr>
            <a:lvl8pPr marL="4198305" indent="0">
              <a:buNone/>
              <a:defRPr sz="2100" b="1"/>
            </a:lvl8pPr>
            <a:lvl9pPr marL="4798063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128066" y="2854523"/>
            <a:ext cx="7074042" cy="5186066"/>
          </a:xfrm>
          <a:prstGeom prst="rect">
            <a:avLst/>
          </a:prstGeom>
        </p:spPr>
        <p:txBody>
          <a:bodyPr/>
          <a:lstStyle>
            <a:lvl1pPr>
              <a:defRPr sz="3148"/>
            </a:lvl1pPr>
            <a:lvl2pPr>
              <a:defRPr sz="2623"/>
            </a:lvl2pPr>
            <a:lvl3pPr>
              <a:defRPr sz="2361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99892" y="8342712"/>
            <a:ext cx="3734912" cy="479227"/>
          </a:xfrm>
          <a:prstGeom prst="rect">
            <a:avLst/>
          </a:prstGeom>
        </p:spPr>
        <p:txBody>
          <a:bodyPr/>
          <a:lstStyle/>
          <a:p>
            <a:fld id="{A4B5BA33-A585-40AB-949E-1242675F0AA5}" type="datetimeFigureOut">
              <a:rPr lang="es-CL" smtClean="0">
                <a:solidFill>
                  <a:prstClr val="black"/>
                </a:solidFill>
              </a:rPr>
              <a:pPr/>
              <a:t>22-01-2025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468011" y="8342712"/>
            <a:ext cx="5065981" cy="479227"/>
          </a:xfrm>
          <a:prstGeom prst="rect">
            <a:avLst/>
          </a:prstGeom>
        </p:spPr>
        <p:txBody>
          <a:bodyPr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467199" y="8342712"/>
            <a:ext cx="3734910" cy="479227"/>
          </a:xfrm>
          <a:prstGeom prst="rect">
            <a:avLst/>
          </a:prstGeom>
        </p:spPr>
        <p:txBody>
          <a:bodyPr/>
          <a:lstStyle/>
          <a:p>
            <a:fld id="{7B4E7E1F-514A-4F93-8638-CA992D3E2960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288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=""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27" y="3247853"/>
            <a:ext cx="202347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=""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8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1">
                <a:solidFill>
                  <a:schemeClr val="bg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8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=""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3054" y="3247853"/>
            <a:ext cx="201878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=""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895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6612" y="3247853"/>
            <a:ext cx="2011738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=""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092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39879" y="3247853"/>
            <a:ext cx="2023471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=""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43985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=""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62504" y="3247853"/>
            <a:ext cx="2023473" cy="1153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1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=""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62504" y="4828515"/>
            <a:ext cx="2023478" cy="1637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787"/>
              </a:spcBef>
              <a:spcAft>
                <a:spcPts val="787"/>
              </a:spcAft>
              <a:buNone/>
              <a:defRPr sz="2358" b="0">
                <a:solidFill>
                  <a:schemeClr val="tx2"/>
                </a:solidFill>
              </a:defRPr>
            </a:lvl1pPr>
            <a:lvl2pPr marL="399600" indent="0">
              <a:buNone/>
              <a:defRPr sz="1968">
                <a:solidFill>
                  <a:schemeClr val="tx2"/>
                </a:solidFill>
              </a:defRPr>
            </a:lvl2pPr>
            <a:lvl3pPr marL="799197" indent="0">
              <a:buNone/>
              <a:defRPr sz="1968">
                <a:solidFill>
                  <a:schemeClr val="tx2"/>
                </a:solidFill>
              </a:defRPr>
            </a:lvl3pPr>
            <a:lvl4pPr marL="1198797" indent="0">
              <a:buNone/>
              <a:defRPr sz="1968">
                <a:solidFill>
                  <a:schemeClr val="tx2"/>
                </a:solidFill>
              </a:defRPr>
            </a:lvl4pPr>
            <a:lvl5pPr marL="1598393" indent="0">
              <a:buNone/>
              <a:defRPr sz="1968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8</a:t>
            </a:r>
          </a:p>
        </p:txBody>
      </p:sp>
      <p:sp>
        <p:nvSpPr>
          <p:cNvPr id="24" name="Marcador de número de diapositiva 1">
            <a:extLst>
              <a:ext uri="{FF2B5EF4-FFF2-40B4-BE49-F238E27FC236}">
                <a16:creationId xmlns=""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837" b="1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="" xmlns:a16="http://schemas.microsoft.com/office/drawing/2014/main" id="{7D052E2E-E151-E64A-A37E-82F3AB51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="" xmlns:a16="http://schemas.microsoft.com/office/drawing/2014/main" id="{AEDEA3B5-7762-144D-8DAA-B6F8DEC998FB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674963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53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78">
          <p15:clr>
            <a:srgbClr val="FBAE40"/>
          </p15:clr>
        </p15:guide>
        <p15:guide id="4" pos="33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1"/>
            </a:lvl1pPr>
          </a:lstStyle>
          <a:p>
            <a:r>
              <a:rPr lang="es-CL" dirty="0"/>
              <a:t>Doble click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002" y="5358054"/>
            <a:ext cx="2507527" cy="205263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312"/>
              </a:spcBef>
              <a:spcAft>
                <a:spcPts val="1312"/>
              </a:spcAft>
              <a:buNone/>
              <a:defRPr sz="2100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944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1007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60196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17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65458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90" y="2094"/>
          <a:ext cx="2082" cy="2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90" y="2094"/>
                        <a:ext cx="2082" cy="2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=""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7003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=""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12930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=""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58856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=""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4782" y="3241896"/>
            <a:ext cx="2507605" cy="18439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/>
            </a:lvl1pPr>
          </a:lstStyle>
          <a:p>
            <a:r>
              <a:rPr lang="es-CL" dirty="0"/>
              <a:t>Insertar ícono o foto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956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58908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=""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0486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989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23115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=""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73240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=""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0322" y="2528822"/>
            <a:ext cx="1574942" cy="11539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78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número de diapositiva 1">
            <a:extLst>
              <a:ext uri="{FF2B5EF4-FFF2-40B4-BE49-F238E27FC236}">
                <a16:creationId xmlns=""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="" xmlns:a16="http://schemas.microsoft.com/office/drawing/2014/main" id="{40A1A5D0-A042-D549-BD19-F82C25506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14" y="602158"/>
            <a:ext cx="12977669" cy="945000"/>
          </a:xfrm>
          <a:prstGeom prst="rect">
            <a:avLst/>
          </a:prstGeom>
        </p:spPr>
        <p:txBody>
          <a:bodyPr lIns="0" tIns="0" rIns="0" bIns="0"/>
          <a:lstStyle>
            <a:lvl1pPr marL="14571" indent="-145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3145">
                <a:solidFill>
                  <a:schemeClr val="accent3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4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D9520A27-4D1A-F840-A66E-86B449130909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81493573-B933-2E4C-830B-A9B9EBC3D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0910" y="5358651"/>
            <a:ext cx="2507527" cy="205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Nombre Capítulo 1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53408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=""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227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=""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582366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13314" y="3610359"/>
            <a:ext cx="1661767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4384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=""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12239700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=""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64935" y="3610359"/>
            <a:ext cx="1742445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=""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0433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=""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8380433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=""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11387" y="3610359"/>
            <a:ext cx="1836380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=""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199" y="4742404"/>
            <a:ext cx="3152156" cy="2907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0">
                <a:solidFill>
                  <a:schemeClr val="tx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=""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4482197" y="4384774"/>
            <a:ext cx="31563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9972" rIns="29972"/>
          <a:lstStyle/>
          <a:p>
            <a:pPr defTabSz="1597354">
              <a:defRPr>
                <a:latin typeface="Arial"/>
                <a:ea typeface="Arial"/>
                <a:cs typeface="Arial"/>
                <a:sym typeface="Arial"/>
              </a:defRPr>
            </a:pPr>
            <a:endParaRPr sz="1575">
              <a:solidFill>
                <a:srgbClr val="0C662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=""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7566" y="3610359"/>
            <a:ext cx="1758963" cy="614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tx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2231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=""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8219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=""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380438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=""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2249573" y="3349875"/>
            <a:ext cx="1013557" cy="868484"/>
          </a:xfrm>
          <a:prstGeom prst="rect">
            <a:avLst/>
          </a:prstGeom>
        </p:spPr>
        <p:txBody>
          <a:bodyPr anchor="ctr"/>
          <a:lstStyle>
            <a:lvl1pPr marL="399959" marR="0" indent="-399959" algn="l" defTabSz="1598792" rtl="0" eaLnBrk="1" latinLnBrk="0" hangingPunct="1">
              <a:lnSpc>
                <a:spcPct val="90000"/>
              </a:lnSpc>
              <a:spcBef>
                <a:spcPts val="2952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181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970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0">
          <p15:clr>
            <a:srgbClr val="FBAE40"/>
          </p15:clr>
        </p15:guide>
        <p15:guide id="3" pos="1799">
          <p15:clr>
            <a:srgbClr val="FBAE40"/>
          </p15:clr>
        </p15:guide>
        <p15:guide id="4" orient="horz" pos="2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4906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1"/>
              </a:buClr>
              <a:buSzPct val="100000"/>
              <a:buFont typeface="Tipo de letra del sistema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77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olo texto y bulle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rgbClr val="5F5F5F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rgbClr val="5F5F5F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rgbClr val="5F5F5F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=""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8A8A8A"/>
                </a:solidFill>
              </a:rPr>
              <a:pPr/>
              <a:t>‹Nº›</a:t>
            </a:fld>
            <a:endParaRPr lang="es-CL" dirty="0">
              <a:solidFill>
                <a:srgbClr val="8A8A8A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="" xmlns:a16="http://schemas.microsoft.com/office/drawing/2014/main" id="{DB116DFD-5134-FA4F-91F9-1CCA47213E9A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bg1">
                    <a:lumMod val="50000"/>
                  </a:schemeClr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48375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372131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is-con titulo y tex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366" y="2127352"/>
            <a:ext cx="14819560" cy="6297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spcBef>
                <a:spcPts val="787"/>
              </a:spcBef>
              <a:spcAft>
                <a:spcPts val="787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7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 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=""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803C210-104B-0645-823D-B2A1204D96A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06743" y="591742"/>
            <a:ext cx="10942932" cy="54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="" xmlns:a16="http://schemas.microsoft.com/office/drawing/2014/main" id="{BA48638C-BCB3-3740-A045-C812921D4987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1AB0884-4043-5742-99DC-1D09567E9F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6743" y="1152765"/>
            <a:ext cx="10942932" cy="467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8822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olo texto y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14440" y="593836"/>
            <a:ext cx="687585" cy="687586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7869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0" name="Marcador de texto 2">
            <a:extLst>
              <a:ext uri="{FF2B5EF4-FFF2-40B4-BE49-F238E27FC236}">
                <a16:creationId xmlns="" xmlns:a16="http://schemas.microsoft.com/office/drawing/2014/main" id="{46352864-5CDA-6748-9BE7-AB525715B1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082" y="2893884"/>
            <a:ext cx="7184056" cy="544049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bg2"/>
              </a:buClr>
              <a:buSzPct val="95000"/>
              <a:buFontTx/>
              <a:buNone/>
              <a:defRPr sz="2227">
                <a:solidFill>
                  <a:schemeClr val="bg1"/>
                </a:solidFill>
              </a:defRPr>
            </a:lvl1pPr>
            <a:lvl2pPr marL="886609" indent="-487013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Wingdings" pitchFamily="2" charset="2"/>
              <a:buChar char="§"/>
              <a:tabLst/>
              <a:defRPr lang="es-ES" sz="21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350728" indent="-437061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3pPr>
            <a:lvl4pPr marL="1759692" indent="-436020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/>
              <a:defRPr sz="1837">
                <a:solidFill>
                  <a:schemeClr val="bg1"/>
                </a:solidFill>
              </a:defRPr>
            </a:lvl4pPr>
            <a:lvl5pPr marL="2196753" indent="-477647">
              <a:lnSpc>
                <a:spcPct val="100000"/>
              </a:lnSpc>
              <a:spcBef>
                <a:spcPts val="525"/>
              </a:spcBef>
              <a:spcAft>
                <a:spcPts val="525"/>
              </a:spcAft>
              <a:buClr>
                <a:schemeClr val="accent2"/>
              </a:buClr>
              <a:buSzPct val="95000"/>
              <a:buFont typeface=".Lucida Grande UI Regular"/>
              <a:buChar char="▫"/>
              <a:tabLst>
                <a:tab pos="2060432" algn="l"/>
              </a:tabLst>
              <a:defRPr sz="1837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texto Arial 17</a:t>
            </a:r>
          </a:p>
          <a:p>
            <a:pPr lvl="1"/>
            <a:r>
              <a:rPr lang="es-ES" dirty="0"/>
              <a:t>Segundo nivel Arial 16</a:t>
            </a:r>
          </a:p>
          <a:p>
            <a:pPr lvl="2"/>
            <a:r>
              <a:rPr lang="es-ES" dirty="0"/>
              <a:t>Tercer nivel Arial 14</a:t>
            </a:r>
          </a:p>
          <a:p>
            <a:pPr lvl="3"/>
            <a:r>
              <a:rPr lang="es-ES" dirty="0"/>
              <a:t>Cuarto nivel Arial 14</a:t>
            </a:r>
          </a:p>
          <a:p>
            <a:pPr lvl="4"/>
            <a:r>
              <a:rPr lang="es-ES" dirty="0"/>
              <a:t>Quinto nivel Arial 14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7E70C03-1C9A-9648-B425-8A31D2E87E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296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21A27CE4-2D15-A94A-A97D-35B2F8DDC9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17868" y="2110681"/>
            <a:ext cx="7166095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21C23CA-A9EE-274A-A27A-3F1E699A642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flipH="1">
            <a:off x="561308" y="8651403"/>
            <a:ext cx="7208088" cy="218068"/>
          </a:xfrm>
          <a:prstGeom prst="rect">
            <a:avLst/>
          </a:prstGeom>
          <a:noFill/>
          <a:effectLst/>
        </p:spPr>
        <p:txBody>
          <a:bodyPr wrap="square" lIns="0" tIns="0" rIns="0" bIns="36000">
            <a:spAutoFit/>
          </a:bodyPr>
          <a:lstStyle>
            <a:lvl1pPr marL="178987" indent="0">
              <a:tabLst/>
              <a:defRPr>
                <a:solidFill>
                  <a:schemeClr val="accent2"/>
                </a:solidFill>
              </a:defRPr>
            </a:lvl1pPr>
          </a:lstStyle>
          <a:p>
            <a:r>
              <a:rPr lang="es-ES_tradnl" dirty="0">
                <a:solidFill>
                  <a:srgbClr val="F2E500"/>
                </a:solidFill>
              </a:rPr>
              <a:t>Fuente o Pie de página Arial 9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DD32D3F5-60C4-4548-B9FD-5B2B534B5D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658" y="591742"/>
            <a:ext cx="10942932" cy="5419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45" b="1">
                <a:solidFill>
                  <a:schemeClr val="bg1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Título Arial Bold 24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FC4CE323-2991-0741-84BF-4FC66AF6EEA5}"/>
              </a:ext>
            </a:extLst>
          </p:cNvPr>
          <p:cNvCxnSpPr>
            <a:cxnSpLocks/>
          </p:cNvCxnSpPr>
          <p:nvPr userDrawn="1"/>
        </p:nvCxnSpPr>
        <p:spPr>
          <a:xfrm>
            <a:off x="708613" y="506378"/>
            <a:ext cx="1702603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7">
            <a:extLst>
              <a:ext uri="{FF2B5EF4-FFF2-40B4-BE49-F238E27FC236}">
                <a16:creationId xmlns="" xmlns:a16="http://schemas.microsoft.com/office/drawing/2014/main" id="{A8F90AAC-3411-5E49-A60E-F9BE61D39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658" y="1152765"/>
            <a:ext cx="10942932" cy="467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20" b="0">
                <a:solidFill>
                  <a:schemeClr val="accent2"/>
                </a:solidFill>
              </a:defRPr>
            </a:lvl1pPr>
            <a:lvl2pPr marL="399600" indent="0">
              <a:buNone/>
              <a:defRPr/>
            </a:lvl2pPr>
            <a:lvl3pPr marL="799197" indent="0">
              <a:buNone/>
              <a:defRPr/>
            </a:lvl3pPr>
            <a:lvl4pPr marL="1198797" indent="0">
              <a:buNone/>
              <a:defRPr/>
            </a:lvl4pPr>
            <a:lvl5pPr marL="1598393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CB5C4F44-F91F-5E4D-8C11-403F649E4C9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13086910" y="8483684"/>
            <a:ext cx="2420465" cy="479227"/>
          </a:xfrm>
          <a:prstGeom prst="rect">
            <a:avLst/>
          </a:prstGeom>
        </p:spPr>
        <p:txBody>
          <a:bodyPr anchor="t"/>
          <a:lstStyle>
            <a:lvl1pPr>
              <a:defRPr sz="1312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FFFFFF"/>
                </a:solidFill>
              </a:rPr>
              <a:pPr/>
              <a:t>‹Nº›</a:t>
            </a:fld>
            <a:endParaRPr lang="es-C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326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117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22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63" Type="http://schemas.openxmlformats.org/officeDocument/2006/relationships/slideLayout" Target="../slideLayouts/slideLayout64.xml"/><Relationship Id="rId68" Type="http://schemas.openxmlformats.org/officeDocument/2006/relationships/slideLayout" Target="../slideLayouts/slideLayout69.xml"/><Relationship Id="rId84" Type="http://schemas.openxmlformats.org/officeDocument/2006/relationships/slideLayout" Target="../slideLayouts/slideLayout85.xml"/><Relationship Id="rId89" Type="http://schemas.openxmlformats.org/officeDocument/2006/relationships/slideLayout" Target="../slideLayouts/slideLayout90.xml"/><Relationship Id="rId11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7.xml"/><Relationship Id="rId107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2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74" Type="http://schemas.openxmlformats.org/officeDocument/2006/relationships/slideLayout" Target="../slideLayouts/slideLayout75.xml"/><Relationship Id="rId79" Type="http://schemas.openxmlformats.org/officeDocument/2006/relationships/slideLayout" Target="../slideLayouts/slideLayout80.xml"/><Relationship Id="rId102" Type="http://schemas.openxmlformats.org/officeDocument/2006/relationships/slideLayout" Target="../slideLayouts/slideLayout103.xml"/><Relationship Id="rId123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90" Type="http://schemas.openxmlformats.org/officeDocument/2006/relationships/slideLayout" Target="../slideLayouts/slideLayout91.xml"/><Relationship Id="rId95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78.xml"/><Relationship Id="rId100" Type="http://schemas.openxmlformats.org/officeDocument/2006/relationships/slideLayout" Target="../slideLayouts/slideLayout101.xml"/><Relationship Id="rId105" Type="http://schemas.openxmlformats.org/officeDocument/2006/relationships/slideLayout" Target="../slideLayouts/slideLayout106.xml"/><Relationship Id="rId113" Type="http://schemas.openxmlformats.org/officeDocument/2006/relationships/slideLayout" Target="../slideLayouts/slideLayout114.xml"/><Relationship Id="rId118" Type="http://schemas.openxmlformats.org/officeDocument/2006/relationships/slideLayout" Target="../slideLayouts/slideLayout119.xml"/><Relationship Id="rId126" Type="http://schemas.openxmlformats.org/officeDocument/2006/relationships/oleObject" Target="../embeddings/oleObject2.bin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72" Type="http://schemas.openxmlformats.org/officeDocument/2006/relationships/slideLayout" Target="../slideLayouts/slideLayout73.xml"/><Relationship Id="rId80" Type="http://schemas.openxmlformats.org/officeDocument/2006/relationships/slideLayout" Target="../slideLayouts/slideLayout81.xml"/><Relationship Id="rId85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94.xml"/><Relationship Id="rId98" Type="http://schemas.openxmlformats.org/officeDocument/2006/relationships/slideLayout" Target="../slideLayouts/slideLayout99.xml"/><Relationship Id="rId12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68.xml"/><Relationship Id="rId103" Type="http://schemas.openxmlformats.org/officeDocument/2006/relationships/slideLayout" Target="../slideLayouts/slideLayout104.xml"/><Relationship Id="rId108" Type="http://schemas.openxmlformats.org/officeDocument/2006/relationships/slideLayout" Target="../slideLayouts/slideLayout109.xml"/><Relationship Id="rId116" Type="http://schemas.openxmlformats.org/officeDocument/2006/relationships/slideLayout" Target="../slideLayouts/slideLayout117.xml"/><Relationship Id="rId124" Type="http://schemas.openxmlformats.org/officeDocument/2006/relationships/vmlDrawing" Target="../drawings/vmlDrawing2.v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70" Type="http://schemas.openxmlformats.org/officeDocument/2006/relationships/slideLayout" Target="../slideLayouts/slideLayout71.xml"/><Relationship Id="rId75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84.xml"/><Relationship Id="rId88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92.xml"/><Relationship Id="rId96" Type="http://schemas.openxmlformats.org/officeDocument/2006/relationships/slideLayout" Target="../slideLayouts/slideLayout97.xml"/><Relationship Id="rId111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6" Type="http://schemas.openxmlformats.org/officeDocument/2006/relationships/slideLayout" Target="../slideLayouts/slideLayout107.xml"/><Relationship Id="rId114" Type="http://schemas.openxmlformats.org/officeDocument/2006/relationships/slideLayout" Target="../slideLayouts/slideLayout115.xml"/><Relationship Id="rId119" Type="http://schemas.openxmlformats.org/officeDocument/2006/relationships/slideLayout" Target="../slideLayouts/slideLayout120.xml"/><Relationship Id="rId127" Type="http://schemas.openxmlformats.org/officeDocument/2006/relationships/image" Target="../media/image1.emf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74.xml"/><Relationship Id="rId78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82.xml"/><Relationship Id="rId86" Type="http://schemas.openxmlformats.org/officeDocument/2006/relationships/slideLayout" Target="../slideLayouts/slideLayout87.xml"/><Relationship Id="rId94" Type="http://schemas.openxmlformats.org/officeDocument/2006/relationships/slideLayout" Target="../slideLayouts/slideLayout95.xml"/><Relationship Id="rId99" Type="http://schemas.openxmlformats.org/officeDocument/2006/relationships/slideLayout" Target="../slideLayouts/slideLayout100.xml"/><Relationship Id="rId101" Type="http://schemas.openxmlformats.org/officeDocument/2006/relationships/slideLayout" Target="../slideLayouts/slideLayout102.xml"/><Relationship Id="rId122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Relationship Id="rId109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35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76" Type="http://schemas.openxmlformats.org/officeDocument/2006/relationships/slideLayout" Target="../slideLayouts/slideLayout77.xml"/><Relationship Id="rId97" Type="http://schemas.openxmlformats.org/officeDocument/2006/relationships/slideLayout" Target="../slideLayouts/slideLayout98.xml"/><Relationship Id="rId104" Type="http://schemas.openxmlformats.org/officeDocument/2006/relationships/slideLayout" Target="../slideLayouts/slideLayout105.xml"/><Relationship Id="rId120" Type="http://schemas.openxmlformats.org/officeDocument/2006/relationships/slideLayout" Target="../slideLayouts/slideLayout121.xml"/><Relationship Id="rId125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71" Type="http://schemas.openxmlformats.org/officeDocument/2006/relationships/slideLayout" Target="../slideLayouts/slideLayout72.xml"/><Relationship Id="rId9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3.xml"/><Relationship Id="rId29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25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66" Type="http://schemas.openxmlformats.org/officeDocument/2006/relationships/slideLayout" Target="../slideLayouts/slideLayout67.xml"/><Relationship Id="rId87" Type="http://schemas.openxmlformats.org/officeDocument/2006/relationships/slideLayout" Target="../slideLayouts/slideLayout88.xml"/><Relationship Id="rId110" Type="http://schemas.openxmlformats.org/officeDocument/2006/relationships/slideLayout" Target="../slideLayouts/slideLayout111.xml"/><Relationship Id="rId115" Type="http://schemas.openxmlformats.org/officeDocument/2006/relationships/slideLayout" Target="../slideLayouts/slideLayout116.xml"/><Relationship Id="rId61" Type="http://schemas.openxmlformats.org/officeDocument/2006/relationships/slideLayout" Target="../slideLayouts/slideLayout62.xml"/><Relationship Id="rId82" Type="http://schemas.openxmlformats.org/officeDocument/2006/relationships/slideLayout" Target="../slideLayouts/slideLayout8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5.xml"/><Relationship Id="rId16" Type="http://schemas.openxmlformats.org/officeDocument/2006/relationships/oleObject" Target="../embeddings/oleObject37.bin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vmlDrawing" Target="../drawings/vmlDrawing3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vmlDrawing" Target="../drawings/vmlDrawing38.vml"/><Relationship Id="rId3" Type="http://schemas.openxmlformats.org/officeDocument/2006/relationships/slideLayout" Target="../slideLayouts/slideLayout138.xml"/><Relationship Id="rId21" Type="http://schemas.openxmlformats.org/officeDocument/2006/relationships/oleObject" Target="../embeddings/oleObject38.bin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109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9630" y="360364"/>
            <a:ext cx="14402741" cy="15001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9630" y="2100264"/>
            <a:ext cx="14402741" cy="5940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C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9630" y="8342314"/>
            <a:ext cx="3734741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467272" y="8342314"/>
            <a:ext cx="5067457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7630" y="8342314"/>
            <a:ext cx="3734741" cy="479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6002000" cy="9001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766" dirty="0"/>
          </a:p>
        </p:txBody>
      </p:sp>
      <p:pic>
        <p:nvPicPr>
          <p:cNvPr id="8" name="Picture 7" descr="C:\Users\Leslie\AppData\Local\Temp\x10sctmp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95616" y="396876"/>
            <a:ext cx="948875" cy="93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11947112" y="8514429"/>
            <a:ext cx="3734741" cy="479425"/>
          </a:xfrm>
          <a:prstGeom prst="rect">
            <a:avLst/>
          </a:prstGeom>
        </p:spPr>
        <p:txBody>
          <a:bodyPr vert="horz" lIns="90311" tIns="45156" rIns="90311" bIns="45156" rtlCol="0" anchor="ctr"/>
          <a:lstStyle>
            <a:defPPr>
              <a:defRPr lang="es-CL"/>
            </a:defPPr>
            <a:lvl1pPr marL="0" algn="r" defTabSz="1440180" rtl="0" eaLnBrk="1" latinLnBrk="0" hangingPunct="1">
              <a:defRPr sz="2400" kern="1200">
                <a:solidFill>
                  <a:srgbClr val="FF3399"/>
                </a:solidFill>
                <a:latin typeface="Tw Cen MT" pitchFamily="34" charset="0"/>
                <a:ea typeface="+mn-ea"/>
                <a:cs typeface="+mn-cs"/>
              </a:defRPr>
            </a:lvl1pPr>
            <a:lvl2pPr marL="72009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6027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45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54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4063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720" algn="l" defTabSz="144018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2FB80-0D90-44FD-B9C0-03B43FA6E588}" type="slidenum">
              <a:rPr lang="es-CL" sz="1975" b="1" smtClean="0"/>
              <a:pPr/>
              <a:t>‹Nº›</a:t>
            </a:fld>
            <a:endParaRPr lang="es-CL" sz="1975" b="1" dirty="0"/>
          </a:p>
        </p:txBody>
      </p:sp>
    </p:spTree>
    <p:extLst>
      <p:ext uri="{BB962C8B-B14F-4D97-AF65-F5344CB8AC3E}">
        <p14:creationId xmlns:p14="http://schemas.microsoft.com/office/powerpoint/2010/main" val="158362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hdr="0" dt="0"/>
  <p:txStyles>
    <p:titleStyle>
      <a:lvl1pPr algn="ctr" defTabSz="903153" rtl="0" eaLnBrk="1" latinLnBrk="0" hangingPunct="1">
        <a:spcBef>
          <a:spcPct val="0"/>
        </a:spcBef>
        <a:buNone/>
        <a:defRPr sz="4346" kern="1200">
          <a:solidFill>
            <a:schemeClr val="tx1"/>
          </a:solidFill>
          <a:latin typeface="Tw Cen MT" pitchFamily="34" charset="0"/>
          <a:ea typeface="+mj-ea"/>
          <a:cs typeface="+mj-cs"/>
        </a:defRPr>
      </a:lvl1pPr>
    </p:titleStyle>
    <p:bodyStyle>
      <a:lvl1pPr marL="338682" indent="-338682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3161" kern="1200">
          <a:solidFill>
            <a:schemeClr val="tx1"/>
          </a:solidFill>
          <a:latin typeface="Tw Cen MT" pitchFamily="34" charset="0"/>
          <a:ea typeface="+mn-ea"/>
          <a:cs typeface="+mn-cs"/>
        </a:defRPr>
      </a:lvl1pPr>
      <a:lvl2pPr marL="733812" indent="-282235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766" kern="1200">
          <a:solidFill>
            <a:schemeClr val="tx1"/>
          </a:solidFill>
          <a:latin typeface="Tw Cen MT" pitchFamily="34" charset="0"/>
          <a:ea typeface="+mn-ea"/>
          <a:cs typeface="+mn-cs"/>
        </a:defRPr>
      </a:lvl2pPr>
      <a:lvl3pPr marL="1128941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2370" kern="1200">
          <a:solidFill>
            <a:schemeClr val="tx1"/>
          </a:solidFill>
          <a:latin typeface="Tw Cen MT" pitchFamily="34" charset="0"/>
          <a:ea typeface="+mn-ea"/>
          <a:cs typeface="+mn-cs"/>
        </a:defRPr>
      </a:lvl3pPr>
      <a:lvl4pPr marL="1580518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975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2032094" indent="-225788" algn="l" defTabSz="903153" rtl="0" eaLnBrk="1" latinLnBrk="0" hangingPunct="1">
        <a:spcBef>
          <a:spcPct val="20000"/>
        </a:spcBef>
        <a:buClr>
          <a:srgbClr val="FF3399"/>
        </a:buClr>
        <a:buFont typeface="Wingdings" pitchFamily="2" charset="2"/>
        <a:buChar char="ü"/>
        <a:defRPr sz="1975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2483670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6pPr>
      <a:lvl7pPr marL="2935247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7pPr>
      <a:lvl8pPr marL="3386823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8pPr>
      <a:lvl9pPr marL="3838400" indent="-225788" algn="l" defTabSz="903153" rtl="0" eaLnBrk="1" latinLnBrk="0" hangingPunct="1">
        <a:spcBef>
          <a:spcPct val="20000"/>
        </a:spcBef>
        <a:buFont typeface="Arial" pitchFamily="34" charset="0"/>
        <a:buChar char="•"/>
        <a:defRPr sz="19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1576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3153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4729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6306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7882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9459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61035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12612" algn="l" defTabSz="903153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5"/>
            </p:custDataLst>
          </p:nvPr>
        </p:nvGraphicFramePr>
        <p:xfrm>
          <a:off x="2085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Diapositiva de think-cell" r:id="rId126" imgW="415" imgH="416" progId="TCLayout.ActiveDocument.1">
                  <p:embed/>
                </p:oleObj>
              </mc:Choice>
              <mc:Fallback>
                <p:oleObj name="Diapositiva de think-cell" r:id="rId12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2085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616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4020" r:id="rId15"/>
    <p:sldLayoutId id="2147484021" r:id="rId16"/>
    <p:sldLayoutId id="2147484022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57" r:id="rId35"/>
    <p:sldLayoutId id="2147483758" r:id="rId36"/>
    <p:sldLayoutId id="2147483759" r:id="rId37"/>
    <p:sldLayoutId id="2147483760" r:id="rId38"/>
    <p:sldLayoutId id="2147483761" r:id="rId39"/>
    <p:sldLayoutId id="2147483762" r:id="rId40"/>
    <p:sldLayoutId id="2147483763" r:id="rId41"/>
    <p:sldLayoutId id="2147483764" r:id="rId42"/>
    <p:sldLayoutId id="2147483765" r:id="rId43"/>
    <p:sldLayoutId id="2147483766" r:id="rId44"/>
    <p:sldLayoutId id="2147483767" r:id="rId45"/>
    <p:sldLayoutId id="2147483768" r:id="rId46"/>
    <p:sldLayoutId id="2147483769" r:id="rId47"/>
    <p:sldLayoutId id="2147483770" r:id="rId48"/>
    <p:sldLayoutId id="2147483771" r:id="rId49"/>
    <p:sldLayoutId id="2147483772" r:id="rId50"/>
    <p:sldLayoutId id="2147483773" r:id="rId51"/>
    <p:sldLayoutId id="2147483774" r:id="rId52"/>
    <p:sldLayoutId id="2147483775" r:id="rId53"/>
    <p:sldLayoutId id="2147483776" r:id="rId54"/>
    <p:sldLayoutId id="2147483777" r:id="rId55"/>
    <p:sldLayoutId id="2147483778" r:id="rId56"/>
    <p:sldLayoutId id="2147483779" r:id="rId57"/>
    <p:sldLayoutId id="2147483780" r:id="rId58"/>
    <p:sldLayoutId id="2147483781" r:id="rId59"/>
    <p:sldLayoutId id="2147483782" r:id="rId60"/>
    <p:sldLayoutId id="2147483783" r:id="rId61"/>
    <p:sldLayoutId id="2147483784" r:id="rId62"/>
    <p:sldLayoutId id="2147483785" r:id="rId63"/>
    <p:sldLayoutId id="2147483786" r:id="rId64"/>
    <p:sldLayoutId id="2147483787" r:id="rId65"/>
    <p:sldLayoutId id="2147483788" r:id="rId66"/>
    <p:sldLayoutId id="2147483790" r:id="rId67"/>
    <p:sldLayoutId id="2147483791" r:id="rId68"/>
    <p:sldLayoutId id="2147483792" r:id="rId69"/>
    <p:sldLayoutId id="2147483793" r:id="rId70"/>
    <p:sldLayoutId id="2147483794" r:id="rId71"/>
    <p:sldLayoutId id="2147483795" r:id="rId72"/>
    <p:sldLayoutId id="2147483796" r:id="rId73"/>
    <p:sldLayoutId id="2147483798" r:id="rId74"/>
    <p:sldLayoutId id="2147483723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955" r:id="rId81"/>
    <p:sldLayoutId id="2147483956" r:id="rId82"/>
    <p:sldLayoutId id="2147483957" r:id="rId83"/>
    <p:sldLayoutId id="2147483958" r:id="rId84"/>
    <p:sldLayoutId id="2147483960" r:id="rId85"/>
    <p:sldLayoutId id="2147483961" r:id="rId86"/>
    <p:sldLayoutId id="2147483962" r:id="rId87"/>
    <p:sldLayoutId id="2147483963" r:id="rId88"/>
    <p:sldLayoutId id="2147483964" r:id="rId89"/>
    <p:sldLayoutId id="2147483965" r:id="rId90"/>
    <p:sldLayoutId id="2147483966" r:id="rId91"/>
    <p:sldLayoutId id="2147483967" r:id="rId92"/>
    <p:sldLayoutId id="2147483968" r:id="rId93"/>
    <p:sldLayoutId id="2147483971" r:id="rId94"/>
    <p:sldLayoutId id="2147483972" r:id="rId95"/>
    <p:sldLayoutId id="2147483973" r:id="rId96"/>
    <p:sldLayoutId id="2147483974" r:id="rId97"/>
    <p:sldLayoutId id="2147483975" r:id="rId98"/>
    <p:sldLayoutId id="2147483976" r:id="rId99"/>
    <p:sldLayoutId id="2147483977" r:id="rId100"/>
    <p:sldLayoutId id="2147483978" r:id="rId101"/>
    <p:sldLayoutId id="2147483979" r:id="rId102"/>
    <p:sldLayoutId id="2147483980" r:id="rId103"/>
    <p:sldLayoutId id="2147483981" r:id="rId104"/>
    <p:sldLayoutId id="2147483982" r:id="rId105"/>
    <p:sldLayoutId id="2147483983" r:id="rId106"/>
    <p:sldLayoutId id="2147483984" r:id="rId107"/>
    <p:sldLayoutId id="2147483985" r:id="rId108"/>
    <p:sldLayoutId id="2147483986" r:id="rId109"/>
    <p:sldLayoutId id="2147483987" r:id="rId110"/>
    <p:sldLayoutId id="2147483988" r:id="rId111"/>
    <p:sldLayoutId id="2147483989" r:id="rId112"/>
    <p:sldLayoutId id="2147483990" r:id="rId113"/>
    <p:sldLayoutId id="2147483991" r:id="rId114"/>
    <p:sldLayoutId id="2147483992" r:id="rId115"/>
    <p:sldLayoutId id="2147483993" r:id="rId116"/>
    <p:sldLayoutId id="2147483994" r:id="rId117"/>
    <p:sldLayoutId id="2147483995" r:id="rId118"/>
    <p:sldLayoutId id="2147483996" r:id="rId119"/>
    <p:sldLayoutId id="2147483997" r:id="rId120"/>
    <p:sldLayoutId id="2147484015" r:id="rId121"/>
    <p:sldLayoutId id="2147484016" r:id="rId122"/>
  </p:sldLayoutIdLst>
  <p:txStyles>
    <p:titleStyle>
      <a:lvl1pPr algn="ctr" defTabSz="1199516" rtl="0" eaLnBrk="1" latinLnBrk="0" hangingPunct="1">
        <a:spcBef>
          <a:spcPct val="0"/>
        </a:spcBef>
        <a:buNone/>
        <a:defRPr sz="577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9818" indent="-449818" algn="l" defTabSz="1199516" rtl="0" eaLnBrk="1" latinLnBrk="0" hangingPunct="1">
        <a:spcBef>
          <a:spcPct val="20000"/>
        </a:spcBef>
        <a:buFont typeface="Arial" pitchFamily="34" charset="0"/>
        <a:buChar char="•"/>
        <a:defRPr sz="4198" kern="1200">
          <a:solidFill>
            <a:schemeClr val="tx1"/>
          </a:solidFill>
          <a:latin typeface="+mn-lt"/>
          <a:ea typeface="+mn-ea"/>
          <a:cs typeface="+mn-cs"/>
        </a:defRPr>
      </a:lvl1pPr>
      <a:lvl2pPr marL="974606" indent="-374848" algn="l" defTabSz="1199516" rtl="0" eaLnBrk="1" latinLnBrk="0" hangingPunct="1">
        <a:spcBef>
          <a:spcPct val="20000"/>
        </a:spcBef>
        <a:buFont typeface="Arial" pitchFamily="34" charset="0"/>
        <a:buChar char="–"/>
        <a:defRPr sz="3673" kern="1200">
          <a:solidFill>
            <a:schemeClr val="tx1"/>
          </a:solidFill>
          <a:latin typeface="+mn-lt"/>
          <a:ea typeface="+mn-ea"/>
          <a:cs typeface="+mn-cs"/>
        </a:defRPr>
      </a:lvl2pPr>
      <a:lvl3pPr marL="1499395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3148" kern="1200">
          <a:solidFill>
            <a:schemeClr val="tx1"/>
          </a:solidFill>
          <a:latin typeface="+mn-lt"/>
          <a:ea typeface="+mn-ea"/>
          <a:cs typeface="+mn-cs"/>
        </a:defRPr>
      </a:lvl3pPr>
      <a:lvl4pPr marL="2099153" indent="-299878" algn="l" defTabSz="1199516" rtl="0" eaLnBrk="1" latinLnBrk="0" hangingPunct="1">
        <a:spcBef>
          <a:spcPct val="20000"/>
        </a:spcBef>
        <a:buFont typeface="Arial" pitchFamily="34" charset="0"/>
        <a:buChar char="–"/>
        <a:defRPr sz="2623" kern="1200">
          <a:solidFill>
            <a:schemeClr val="tx1"/>
          </a:solidFill>
          <a:latin typeface="+mn-lt"/>
          <a:ea typeface="+mn-ea"/>
          <a:cs typeface="+mn-cs"/>
        </a:defRPr>
      </a:lvl4pPr>
      <a:lvl5pPr marL="2698911" indent="-299878" algn="l" defTabSz="1199516" rtl="0" eaLnBrk="1" latinLnBrk="0" hangingPunct="1">
        <a:spcBef>
          <a:spcPct val="20000"/>
        </a:spcBef>
        <a:buFont typeface="Arial" pitchFamily="34" charset="0"/>
        <a:buChar char="»"/>
        <a:defRPr sz="2623" kern="1200">
          <a:solidFill>
            <a:schemeClr val="tx1"/>
          </a:solidFill>
          <a:latin typeface="+mn-lt"/>
          <a:ea typeface="+mn-ea"/>
          <a:cs typeface="+mn-cs"/>
        </a:defRPr>
      </a:lvl5pPr>
      <a:lvl6pPr marL="3298669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6pPr>
      <a:lvl7pPr marL="3898425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7pPr>
      <a:lvl8pPr marL="4498184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8pPr>
      <a:lvl9pPr marL="5097942" indent="-299878" algn="l" defTabSz="1199516" rtl="0" eaLnBrk="1" latinLnBrk="0" hangingPunct="1">
        <a:spcBef>
          <a:spcPct val="20000"/>
        </a:spcBef>
        <a:buFont typeface="Arial" pitchFamily="34" charset="0"/>
        <a:buChar char="•"/>
        <a:defRPr sz="26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1pPr>
      <a:lvl2pPr marL="599758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2pPr>
      <a:lvl3pPr marL="1199516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3pPr>
      <a:lvl4pPr marL="1799274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4pPr>
      <a:lvl5pPr marL="2399031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5pPr>
      <a:lvl6pPr marL="2998789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6pPr>
      <a:lvl7pPr marL="3598547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7pPr>
      <a:lvl8pPr marL="4198305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8pPr>
      <a:lvl9pPr marL="4798063" algn="l" defTabSz="1199516" rtl="0" eaLnBrk="1" latinLnBrk="0" hangingPunct="1">
        <a:defRPr sz="2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50226C0-939A-A946-859B-7B2D848E2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138" y="479227"/>
            <a:ext cx="13801725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A456D78-D954-6D4A-8B65-B49BF185F3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4F6986C-B78D-994A-AF5C-B9C9BF6E80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138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EC6A949-9312-0A4F-9601-615D34285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0663" y="8342710"/>
            <a:ext cx="5400675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13914C6-A2BD-504D-B290-047A81BFE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1413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AC92D-A6F9-4366-8D77-DC34AE477EA9}" type="slidenum">
              <a:rPr lang="es-CL" smtClean="0"/>
              <a:t>‹Nº›</a:t>
            </a:fld>
            <a:endParaRPr lang="es-CL" dirty="0"/>
          </a:p>
        </p:txBody>
      </p:sp>
      <p:graphicFrame>
        <p:nvGraphicFramePr>
          <p:cNvPr id="7" name="Objeto 1" hidden="1">
            <a:extLst>
              <a:ext uri="{FF2B5EF4-FFF2-40B4-BE49-F238E27FC236}">
                <a16:creationId xmlns="" xmlns:a16="http://schemas.microsoft.com/office/drawing/2014/main" id="{8A248086-8E70-0647-9B71-4B7B61243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85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4" name="Diapositiva de think-cell" r:id="rId16" imgW="415" imgH="416" progId="TCLayout.ActiveDocument.1">
                  <p:embed/>
                </p:oleObj>
              </mc:Choice>
              <mc:Fallback>
                <p:oleObj name="Diapositiva de think-cell" r:id="rId1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085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6964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51" r:id="rId12"/>
  </p:sldLayoutIdLst>
  <p:hf hdr="0" dt="0"/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2084" y="2084"/>
          <a:ext cx="2084" cy="20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Diapositiva de think-cell" r:id="rId21" imgW="415" imgH="416" progId="TCLayout.ActiveDocument.1">
                  <p:embed/>
                </p:oleObj>
              </mc:Choice>
              <mc:Fallback>
                <p:oleObj name="Diapositiva de think-cell" r:id="rId2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084" y="2084"/>
                        <a:ext cx="2084" cy="20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9"/>
    </p:custDataLst>
    <p:extLst>
      <p:ext uri="{BB962C8B-B14F-4D97-AF65-F5344CB8AC3E}">
        <p14:creationId xmlns:p14="http://schemas.microsoft.com/office/powerpoint/2010/main" val="236611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</p:sldLayoutIdLst>
  <p:hf hdr="0" dt="0"/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Clr>
          <a:schemeClr val="accent1"/>
        </a:buClr>
        <a:buFont typeface="Wingdings" panose="05000000000000000000" pitchFamily="2" charset="2"/>
        <a:buChar char="§"/>
        <a:defRPr sz="2100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•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Clr>
          <a:schemeClr val="accent1"/>
        </a:buClr>
        <a:buFont typeface="Arial" panose="020B0604020202020204" pitchFamily="34" charset="0"/>
        <a:buChar char="۔"/>
        <a:defRPr sz="1838" b="0" kern="1200">
          <a:solidFill>
            <a:schemeClr val="accent3">
              <a:lumMod val="75000"/>
              <a:lumOff val="25000"/>
            </a:schemeClr>
          </a:solidFill>
          <a:latin typeface="ACHS Nueva Serif" pitchFamily="2" charset="0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138" y="479227"/>
            <a:ext cx="13801725" cy="1739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138" y="2396133"/>
            <a:ext cx="13801725" cy="5711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138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22-01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0663" y="8342710"/>
            <a:ext cx="5400675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1413" y="8342710"/>
            <a:ext cx="3600450" cy="4792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0015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120015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285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xStyles>
    <p:titleStyle>
      <a:lvl1pPr algn="l" defTabSz="1200150" rtl="0" eaLnBrk="1" latinLnBrk="0" hangingPunct="1">
        <a:lnSpc>
          <a:spcPct val="90000"/>
        </a:lnSpc>
        <a:spcBef>
          <a:spcPct val="0"/>
        </a:spcBef>
        <a:buNone/>
        <a:defRPr sz="5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038" indent="-300038" algn="l" defTabSz="1200150" rtl="0" eaLnBrk="1" latinLnBrk="0" hangingPunct="1">
        <a:lnSpc>
          <a:spcPct val="90000"/>
        </a:lnSpc>
        <a:spcBef>
          <a:spcPts val="1313"/>
        </a:spcBef>
        <a:buFont typeface="Arial" panose="020B0604020202020204" pitchFamily="34" charset="0"/>
        <a:buChar char="•"/>
        <a:defRPr sz="3675" kern="1200">
          <a:solidFill>
            <a:schemeClr val="tx1"/>
          </a:solidFill>
          <a:latin typeface="+mn-lt"/>
          <a:ea typeface="+mn-ea"/>
          <a:cs typeface="+mn-cs"/>
        </a:defRPr>
      </a:lvl1pPr>
      <a:lvl2pPr marL="9001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5001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3pPr>
      <a:lvl4pPr marL="21002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7003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30041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90048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500563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5100638" indent="-300038" algn="l" defTabSz="1200150" rtl="0" eaLnBrk="1" latinLnBrk="0" hangingPunct="1">
        <a:lnSpc>
          <a:spcPct val="90000"/>
        </a:lnSpc>
        <a:spcBef>
          <a:spcPts val="656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6000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4pPr>
      <a:lvl5pPr marL="24003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5pPr>
      <a:lvl6pPr marL="300037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6pPr>
      <a:lvl7pPr marL="360045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7pPr>
      <a:lvl8pPr marL="4200525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8pPr>
      <a:lvl9pPr marL="4800600" algn="l" defTabSz="1200150" rtl="0" eaLnBrk="1" latinLnBrk="0" hangingPunct="1">
        <a:defRPr sz="23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5.xml"/><Relationship Id="rId9" Type="http://schemas.openxmlformats.org/officeDocument/2006/relationships/image" Target="../media/image4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98.xml"/><Relationship Id="rId7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9.tiff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8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15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6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16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7.xml"/><Relationship Id="rId1" Type="http://schemas.openxmlformats.org/officeDocument/2006/relationships/tags" Target="../tags/tag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5.xml"/><Relationship Id="rId9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23701EF3-6CAE-7E46-B4E9-9C916D938872}"/>
              </a:ext>
            </a:extLst>
          </p:cNvPr>
          <p:cNvSpPr/>
          <p:nvPr/>
        </p:nvSpPr>
        <p:spPr>
          <a:xfrm>
            <a:off x="-10763" y="-53975"/>
            <a:ext cx="16137903" cy="9037068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20">
            <a:extLst>
              <a:ext uri="{FF2B5EF4-FFF2-40B4-BE49-F238E27FC236}">
                <a16:creationId xmlns="" xmlns:a16="http://schemas.microsoft.com/office/drawing/2014/main" id="{241284F4-AC00-7E41-9E27-7063E3B3C366}"/>
              </a:ext>
            </a:extLst>
          </p:cNvPr>
          <p:cNvSpPr/>
          <p:nvPr/>
        </p:nvSpPr>
        <p:spPr>
          <a:xfrm>
            <a:off x="8712358" y="-46146"/>
            <a:ext cx="7425545" cy="9037067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766" dirty="0"/>
          </a:p>
        </p:txBody>
      </p:sp>
      <p:pic>
        <p:nvPicPr>
          <p:cNvPr id="11" name="Imagen 7">
            <a:extLst>
              <a:ext uri="{FF2B5EF4-FFF2-40B4-BE49-F238E27FC236}">
                <a16:creationId xmlns="" xmlns:a16="http://schemas.microsoft.com/office/drawing/2014/main" id="{3BC490E1-7DF2-B243-9615-4026783FBE1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4" t="159" r="34749" b="167"/>
          <a:stretch/>
        </p:blipFill>
        <p:spPr>
          <a:xfrm>
            <a:off x="-8754" y="-34116"/>
            <a:ext cx="8741865" cy="9037067"/>
          </a:xfrm>
          <a:prstGeom prst="rect">
            <a:avLst/>
          </a:prstGeom>
        </p:spPr>
      </p:pic>
      <p:pic>
        <p:nvPicPr>
          <p:cNvPr id="13" name="Imagen 14">
            <a:extLst>
              <a:ext uri="{FF2B5EF4-FFF2-40B4-BE49-F238E27FC236}">
                <a16:creationId xmlns="" xmlns:a16="http://schemas.microsoft.com/office/drawing/2014/main" id="{0B46DB45-EEAD-374B-A646-07A122D53E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64107" y="577781"/>
            <a:ext cx="1080369" cy="1689446"/>
          </a:xfrm>
          <a:prstGeom prst="rect">
            <a:avLst/>
          </a:prstGeom>
        </p:spPr>
      </p:pic>
      <p:sp>
        <p:nvSpPr>
          <p:cNvPr id="16" name="Rectángulo redondeado 12">
            <a:extLst>
              <a:ext uri="{FF2B5EF4-FFF2-40B4-BE49-F238E27FC236}">
                <a16:creationId xmlns="" xmlns:a16="http://schemas.microsoft.com/office/drawing/2014/main" id="{499200A0-0888-214F-8E5E-37DC452961A0}"/>
              </a:ext>
            </a:extLst>
          </p:cNvPr>
          <p:cNvSpPr/>
          <p:nvPr/>
        </p:nvSpPr>
        <p:spPr>
          <a:xfrm>
            <a:off x="9330509" y="4530134"/>
            <a:ext cx="2922594" cy="484328"/>
          </a:xfrm>
          <a:prstGeom prst="roundRect">
            <a:avLst/>
          </a:prstGeom>
          <a:solidFill>
            <a:srgbClr val="74E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sp>
        <p:nvSpPr>
          <p:cNvPr id="17" name="Rectángulo 13">
            <a:extLst>
              <a:ext uri="{FF2B5EF4-FFF2-40B4-BE49-F238E27FC236}">
                <a16:creationId xmlns="" xmlns:a16="http://schemas.microsoft.com/office/drawing/2014/main" id="{E7D09007-7632-AC4E-8888-7D15B3329ECC}"/>
              </a:ext>
            </a:extLst>
          </p:cNvPr>
          <p:cNvSpPr/>
          <p:nvPr/>
        </p:nvSpPr>
        <p:spPr>
          <a:xfrm>
            <a:off x="9330508" y="4530134"/>
            <a:ext cx="2855269" cy="4555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99431">
              <a:defRPr/>
            </a:pPr>
            <a:r>
              <a:rPr lang="es-ES" sz="2360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Charla / </a:t>
            </a:r>
            <a:r>
              <a:rPr lang="es-ES" sz="2360" dirty="0" err="1" smtClean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rPr>
              <a:t>Streaming</a:t>
            </a:r>
            <a:endParaRPr lang="es-ES" sz="2360" dirty="0">
              <a:solidFill>
                <a:srgbClr val="004C14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18" name="Marcador de texto 1">
            <a:extLst>
              <a:ext uri="{FF2B5EF4-FFF2-40B4-BE49-F238E27FC236}">
                <a16:creationId xmlns="" xmlns:a16="http://schemas.microsoft.com/office/drawing/2014/main" id="{4F395F43-A76E-5A43-9179-5CB5C7CFAB32}"/>
              </a:ext>
            </a:extLst>
          </p:cNvPr>
          <p:cNvSpPr txBox="1">
            <a:spLocks/>
          </p:cNvSpPr>
          <p:nvPr/>
        </p:nvSpPr>
        <p:spPr>
          <a:xfrm>
            <a:off x="9173441" y="5236389"/>
            <a:ext cx="6159323" cy="1582173"/>
          </a:xfrm>
          <a:prstGeom prst="rect">
            <a:avLst/>
          </a:prstGeom>
        </p:spPr>
        <p:txBody>
          <a:bodyPr vert="horz" lIns="120015" tIns="60008" rIns="120015" bIns="60008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4400" spc="-15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Manejo seguro de herramientas </a:t>
            </a:r>
            <a:r>
              <a:rPr lang="es-ES" sz="4400" spc="-150" dirty="0" smtClean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eléctricas</a:t>
            </a:r>
            <a:endParaRPr lang="es-CL" sz="4400" spc="-150" dirty="0">
              <a:solidFill>
                <a:srgbClr val="12BF45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193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773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4">
            <a:extLst>
              <a:ext uri="{FF2B5EF4-FFF2-40B4-BE49-F238E27FC236}">
                <a16:creationId xmlns="" xmlns:a16="http://schemas.microsoft.com/office/drawing/2014/main" id="{C7B92F72-C0A2-654D-B39B-943883490A3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1863B52B-5AAD-7C45-B673-095030F7976F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A2A2414E-1975-424E-B909-A88E21C2A297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9" name="Imagen 5">
            <a:extLst>
              <a:ext uri="{FF2B5EF4-FFF2-40B4-BE49-F238E27FC236}">
                <a16:creationId xmlns="" xmlns:a16="http://schemas.microsoft.com/office/drawing/2014/main" id="{72B5E499-8E68-1340-81A2-A90C08E154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0" name="Conector recto 6">
            <a:extLst>
              <a:ext uri="{FF2B5EF4-FFF2-40B4-BE49-F238E27FC236}">
                <a16:creationId xmlns="" xmlns:a16="http://schemas.microsoft.com/office/drawing/2014/main" id="{CA0901F9-CA1C-5F4A-820E-586830AAFEBF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2EA089A1-7B1B-864A-85F7-3495887852FF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73379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Golpes y/o cortes tanto con la propia máquina (principalmente con la hoja) como con el material a trabajar. Estas lesiones son generalmente en las manos, antebrazos y muslo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Atrapamientos con partes móviles de la máquina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Proyección de fragmentos o partículas (partículas, virutas, esquirlas, etc.)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Inhalación del polvo producido en las operaciones.                  de corte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Contactos eléctricos tanto directos como indirecto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04230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5275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4">
            <a:extLst>
              <a:ext uri="{FF2B5EF4-FFF2-40B4-BE49-F238E27FC236}">
                <a16:creationId xmlns="" xmlns:a16="http://schemas.microsoft.com/office/drawing/2014/main" id="{A2F39EEB-FFB4-8641-B389-BE22DD9F99F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AD463A73-B860-2547-B51F-0E056642BF4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4C11F5AB-E1BB-DB48-9C03-C2C099EDCD1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2D0CAA94-3BE7-5147-99E6-03A0A288F2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EA04C9EE-6456-8A4B-A869-5001FBB3E7B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9D8D4801-C0C2-2C43-9CF2-E0987E886C37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804803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sea adecuado según el material             a utilizar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la velocidad máxima de giro sea inferior a la velocidad máxima de giro de la herramienta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No golpear los discos, y no los almacene junto a                   otras herramient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Al instalar el disco, utilizar la llave específica de apriete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Comprobar que el disco gira en el sentido correct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no se encuentre muy gastado                    ni agriet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0826B4C8-1340-7642-9190-A1C4FFD06661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276132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172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4">
            <a:extLst>
              <a:ext uri="{FF2B5EF4-FFF2-40B4-BE49-F238E27FC236}">
                <a16:creationId xmlns="" xmlns:a16="http://schemas.microsoft.com/office/drawing/2014/main" id="{5C9DD2D5-D503-AA41-980E-B2BFFBB9B50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001" r="8237" b="13500"/>
          <a:stretch/>
        </p:blipFill>
        <p:spPr>
          <a:xfrm>
            <a:off x="6848872" y="1350180"/>
            <a:ext cx="9316861" cy="7650945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4AC5A7A0-4673-644C-8556-951BA85D50A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Sierra circular</a:t>
            </a:r>
          </a:p>
        </p:txBody>
      </p:sp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65011534-A3D1-C541-A686-2109EF5A073D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B5B196AF-C11F-6843-A06C-8B7670E637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314B778D-8592-6546-B30E-DB322D5C1000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31">
            <a:extLst>
              <a:ext uri="{FF2B5EF4-FFF2-40B4-BE49-F238E27FC236}">
                <a16:creationId xmlns="" xmlns:a16="http://schemas.microsoft.com/office/drawing/2014/main" id="{AB3C962B-D44F-C24B-BC7C-3FA707517675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58977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el disco sea del diámetro recomendad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Verificar que la herramienta cuente con la protección       del disc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Si se trabaja cerca de otras personas, instalar pantallas o lonas que impidan proyección de partícul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No soltar la herramienta mientras siga en movimiento       el disc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Si se trabaja sobre una pieza suelta, debe estar apoyada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0" name="Marcador de texto 5">
            <a:extLst>
              <a:ext uri="{FF2B5EF4-FFF2-40B4-BE49-F238E27FC236}">
                <a16:creationId xmlns="" xmlns:a16="http://schemas.microsoft.com/office/drawing/2014/main" id="{64B216A2-C793-134D-8EDE-6DBC86A3D6CF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81690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3733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1B71B42B-0584-B944-8E71-FDC611314AC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8EF58BA1-E1DB-FE40-9D4E-9C18394533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49D493B8-99A2-0B48-9555-0FC5ADBF224F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564501BC-4C08-CC4F-9C8E-CEAF91FA4F19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C485BF15-3B70-7742-B195-5081CAE6CC33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003995AF-F6BA-E44D-BF9D-195571D6639C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Marcador de texto 31">
            <a:extLst>
              <a:ext uri="{FF2B5EF4-FFF2-40B4-BE49-F238E27FC236}">
                <a16:creationId xmlns="" xmlns:a16="http://schemas.microsoft.com/office/drawing/2014/main" id="{4A44A5A8-9CC7-9E41-A6D8-7C4558D94B5F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903511" cy="451776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por rotura de la broca durante el trabajo, con proyección de partículas de todos los tamaños y en distintas direccion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el giro de la broca por uso de ropa desajustada, uso de anillos, pelo largo, cadenas, relojes, etc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por la pieza trabajada, al soltarse de las manos          del trabajado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44114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1362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76FF05BF-5326-FC45-8A7D-E475C882002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5F6DE5D3-8EE1-FC41-9BDF-92FFC89D60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2" name="Marcador de texto 5">
            <a:extLst>
              <a:ext uri="{FF2B5EF4-FFF2-40B4-BE49-F238E27FC236}">
                <a16:creationId xmlns="" xmlns:a16="http://schemas.microsoft.com/office/drawing/2014/main" id="{7D1D6E0E-CB04-574F-B770-CB952E2EB2C2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B78E2B6A-93E1-2148-904A-5F681D23D22A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C8797B01-8D46-5C4C-B49A-2A51CB1989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Marcador de texto 31">
            <a:extLst>
              <a:ext uri="{FF2B5EF4-FFF2-40B4-BE49-F238E27FC236}">
                <a16:creationId xmlns="" xmlns:a16="http://schemas.microsoft.com/office/drawing/2014/main" id="{9D02FEF3-3CAA-DB47-B3A3-289C75625C2B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30174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obreesfuerz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material incandescente y/o caliente producto de la fric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xposición a rui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6" name="Título 30">
            <a:extLst>
              <a:ext uri="{FF2B5EF4-FFF2-40B4-BE49-F238E27FC236}">
                <a16:creationId xmlns="" xmlns:a16="http://schemas.microsoft.com/office/drawing/2014/main" id="{FE16EEE4-4283-F442-A271-74FEE0FA5C24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330703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117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0284DFDF-DB0F-F142-9641-6441006EE7C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816"/>
          <a:stretch/>
        </p:blipFill>
        <p:spPr>
          <a:xfrm>
            <a:off x="7932239" y="-684014"/>
            <a:ext cx="7921967" cy="8754408"/>
          </a:xfrm>
          <a:prstGeom prst="rect">
            <a:avLst/>
          </a:prstGeom>
        </p:spPr>
      </p:pic>
      <p:pic>
        <p:nvPicPr>
          <p:cNvPr id="13" name="Imagen 5">
            <a:extLst>
              <a:ext uri="{FF2B5EF4-FFF2-40B4-BE49-F238E27FC236}">
                <a16:creationId xmlns="" xmlns:a16="http://schemas.microsoft.com/office/drawing/2014/main" id="{2E2C8551-228C-6649-8944-F1AA1634C0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F143F1C1-961E-4047-BA6E-15BBEF1D4A04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8410CA54-EBBE-214E-8926-DEB366E8A0B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90C40CEB-FC95-474A-B59C-9DE750182D08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59788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alizar la selección de los dispositivos a utilizar según la superficie a taladrar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visar la broca antes de comenzar a taladrar, si presenta desperfecto informe inmediatamente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el uso de joyas, ropas anchas y cabello suelto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Realizar inspección de herramienta antes de comenzar a trabajar, especialmente el estado de cable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Usar en todo momento sus elementos de                      protección personal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manipular la zona de trabajo ya que ésta puede presentar temperaturas elevadas.</a:t>
            </a:r>
          </a:p>
          <a:p>
            <a:pPr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Evitar accionar dispositivos del taladro mientras éste esté en funcionamiento o energiz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754B976F-AAF2-4145-86DD-F54DA7607A7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1987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Taladro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="" xmlns:a16="http://schemas.microsoft.com/office/drawing/2014/main" id="{359E848A-5E4C-7A49-8352-7C9A3984A44A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1730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896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o 12">
            <a:extLst>
              <a:ext uri="{FF2B5EF4-FFF2-40B4-BE49-F238E27FC236}">
                <a16:creationId xmlns="" xmlns:a16="http://schemas.microsoft.com/office/drawing/2014/main" id="{380A9C56-4D25-9E43-B10D-F44B2C79FA91}"/>
              </a:ext>
            </a:extLst>
          </p:cNvPr>
          <p:cNvGrpSpPr/>
          <p:nvPr/>
        </p:nvGrpSpPr>
        <p:grpSpPr>
          <a:xfrm>
            <a:off x="8000999" y="108073"/>
            <a:ext cx="8001001" cy="8784977"/>
            <a:chOff x="8000999" y="108073"/>
            <a:chExt cx="8001001" cy="8784977"/>
          </a:xfrm>
        </p:grpSpPr>
        <p:grpSp>
          <p:nvGrpSpPr>
            <p:cNvPr id="12" name="Grupo 13">
              <a:extLst>
                <a:ext uri="{FF2B5EF4-FFF2-40B4-BE49-F238E27FC236}">
                  <a16:creationId xmlns="" xmlns:a16="http://schemas.microsoft.com/office/drawing/2014/main" id="{BD4BAB9B-59CD-494E-AACD-72A1C150C24B}"/>
                </a:ext>
              </a:extLst>
            </p:cNvPr>
            <p:cNvGrpSpPr/>
            <p:nvPr/>
          </p:nvGrpSpPr>
          <p:grpSpPr>
            <a:xfrm>
              <a:off x="8000999" y="108073"/>
              <a:ext cx="8001001" cy="8784977"/>
              <a:chOff x="8000999" y="-1509"/>
              <a:chExt cx="7992543" cy="9001125"/>
            </a:xfrm>
          </p:grpSpPr>
          <p:pic>
            <p:nvPicPr>
              <p:cNvPr id="14" name="Imagen 16">
                <a:extLst>
                  <a:ext uri="{FF2B5EF4-FFF2-40B4-BE49-F238E27FC236}">
                    <a16:creationId xmlns="" xmlns:a16="http://schemas.microsoft.com/office/drawing/2014/main" id="{CC0D401A-2B52-CF4D-BB2F-679415CD0E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000999" y="-1509"/>
                <a:ext cx="7992543" cy="9001125"/>
              </a:xfrm>
              <a:prstGeom prst="rect">
                <a:avLst/>
              </a:prstGeom>
            </p:spPr>
          </p:pic>
          <p:sp>
            <p:nvSpPr>
              <p:cNvPr id="16" name="Rectángulo 18">
                <a:extLst>
                  <a:ext uri="{FF2B5EF4-FFF2-40B4-BE49-F238E27FC236}">
                    <a16:creationId xmlns="" xmlns:a16="http://schemas.microsoft.com/office/drawing/2014/main" id="{D015E41D-D492-1A4D-9A77-C57C41A55227}"/>
                  </a:ext>
                </a:extLst>
              </p:cNvPr>
              <p:cNvSpPr/>
              <p:nvPr/>
            </p:nvSpPr>
            <p:spPr>
              <a:xfrm>
                <a:off x="13905656" y="180082"/>
                <a:ext cx="1944216" cy="2160240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L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  <p:sp>
          <p:nvSpPr>
            <p:cNvPr id="13" name="Elipse 15">
              <a:extLst>
                <a:ext uri="{FF2B5EF4-FFF2-40B4-BE49-F238E27FC236}">
                  <a16:creationId xmlns="" xmlns:a16="http://schemas.microsoft.com/office/drawing/2014/main" id="{E4358205-ABD7-3B48-AE08-6372517E15ED}"/>
                </a:ext>
              </a:extLst>
            </p:cNvPr>
            <p:cNvSpPr/>
            <p:nvPr/>
          </p:nvSpPr>
          <p:spPr>
            <a:xfrm rot="20753610">
              <a:off x="10823968" y="5212051"/>
              <a:ext cx="1728728" cy="925057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A3A08CDD-B7C2-294D-AF3B-1A94DA91F125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74E7131A-0121-C543-97D9-57A39BBAE95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Lijadora eléctrica</a:t>
            </a: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CD5105FF-2BF5-8E46-968F-0D1AED8012A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4" name="Imagen 5">
            <a:extLst>
              <a:ext uri="{FF2B5EF4-FFF2-40B4-BE49-F238E27FC236}">
                <a16:creationId xmlns="" xmlns:a16="http://schemas.microsoft.com/office/drawing/2014/main" id="{42B41E9C-5F2E-8F47-88BB-8FF988AC57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5" name="Conector recto 6">
            <a:extLst>
              <a:ext uri="{FF2B5EF4-FFF2-40B4-BE49-F238E27FC236}">
                <a16:creationId xmlns="" xmlns:a16="http://schemas.microsoft.com/office/drawing/2014/main" id="{11A3B9CA-DEDC-9F44-B582-E957A5934EC6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Marcador de texto 31">
            <a:extLst>
              <a:ext uri="{FF2B5EF4-FFF2-40B4-BE49-F238E27FC236}">
                <a16:creationId xmlns="" xmlns:a16="http://schemas.microsoft.com/office/drawing/2014/main" id="{2982DA8D-B3D4-EC4A-9C7C-2994C0FA5CC8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23784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brasiones con la lija, cortes tanto con la propia máquina como con el material a trabaj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s con partes móviles de la máquin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Proyección de fragmentos o partícul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Inhalación del polvo producido en las operaciones                 de lij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s eléctricos tanto directos como indirecto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73126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30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2">
            <a:extLst>
              <a:ext uri="{FF2B5EF4-FFF2-40B4-BE49-F238E27FC236}">
                <a16:creationId xmlns="" xmlns:a16="http://schemas.microsoft.com/office/drawing/2014/main" id="{B1F07879-691C-5746-9578-189E8AE0DDDB}"/>
              </a:ext>
            </a:extLst>
          </p:cNvPr>
          <p:cNvGrpSpPr/>
          <p:nvPr/>
        </p:nvGrpSpPr>
        <p:grpSpPr>
          <a:xfrm>
            <a:off x="8000999" y="108073"/>
            <a:ext cx="8001001" cy="8784977"/>
            <a:chOff x="8000999" y="108073"/>
            <a:chExt cx="8001001" cy="8784977"/>
          </a:xfrm>
        </p:grpSpPr>
        <p:grpSp>
          <p:nvGrpSpPr>
            <p:cNvPr id="13" name="Grupo 13">
              <a:extLst>
                <a:ext uri="{FF2B5EF4-FFF2-40B4-BE49-F238E27FC236}">
                  <a16:creationId xmlns="" xmlns:a16="http://schemas.microsoft.com/office/drawing/2014/main" id="{28827410-0E9D-1347-87D5-DED570473BF0}"/>
                </a:ext>
              </a:extLst>
            </p:cNvPr>
            <p:cNvGrpSpPr/>
            <p:nvPr/>
          </p:nvGrpSpPr>
          <p:grpSpPr>
            <a:xfrm>
              <a:off x="8000999" y="108073"/>
              <a:ext cx="8001001" cy="8784977"/>
              <a:chOff x="8000999" y="-1509"/>
              <a:chExt cx="7992543" cy="9001125"/>
            </a:xfrm>
          </p:grpSpPr>
          <p:pic>
            <p:nvPicPr>
              <p:cNvPr id="16" name="Imagen 16">
                <a:extLst>
                  <a:ext uri="{FF2B5EF4-FFF2-40B4-BE49-F238E27FC236}">
                    <a16:creationId xmlns="" xmlns:a16="http://schemas.microsoft.com/office/drawing/2014/main" id="{AA2E8191-5D1F-644B-86D3-D1212CCFD4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000999" y="-1509"/>
                <a:ext cx="7992543" cy="9001125"/>
              </a:xfrm>
              <a:prstGeom prst="rect">
                <a:avLst/>
              </a:prstGeom>
            </p:spPr>
          </p:pic>
          <p:sp>
            <p:nvSpPr>
              <p:cNvPr id="17" name="Rectángulo 18">
                <a:extLst>
                  <a:ext uri="{FF2B5EF4-FFF2-40B4-BE49-F238E27FC236}">
                    <a16:creationId xmlns="" xmlns:a16="http://schemas.microsoft.com/office/drawing/2014/main" id="{6C02AB40-E59F-F546-82FA-081032E2DC65}"/>
                  </a:ext>
                </a:extLst>
              </p:cNvPr>
              <p:cNvSpPr/>
              <p:nvPr/>
            </p:nvSpPr>
            <p:spPr>
              <a:xfrm>
                <a:off x="13905656" y="180082"/>
                <a:ext cx="1944216" cy="2160240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L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  <p:sp>
          <p:nvSpPr>
            <p:cNvPr id="14" name="Elipse 15">
              <a:extLst>
                <a:ext uri="{FF2B5EF4-FFF2-40B4-BE49-F238E27FC236}">
                  <a16:creationId xmlns="" xmlns:a16="http://schemas.microsoft.com/office/drawing/2014/main" id="{450F704D-E6C9-3941-A833-870C3DE6FD12}"/>
                </a:ext>
              </a:extLst>
            </p:cNvPr>
            <p:cNvSpPr/>
            <p:nvPr/>
          </p:nvSpPr>
          <p:spPr>
            <a:xfrm rot="20753610">
              <a:off x="10823968" y="5212051"/>
              <a:ext cx="1728728" cy="925057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9" name="Título 30">
            <a:extLst>
              <a:ext uri="{FF2B5EF4-FFF2-40B4-BE49-F238E27FC236}">
                <a16:creationId xmlns="" xmlns:a16="http://schemas.microsoft.com/office/drawing/2014/main" id="{36C7359B-2AA6-3D43-BACE-2CECA787DDCE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Lijadora eléctrica</a:t>
            </a:r>
          </a:p>
        </p:txBody>
      </p:sp>
      <p:sp>
        <p:nvSpPr>
          <p:cNvPr id="21" name="Título 30">
            <a:extLst>
              <a:ext uri="{FF2B5EF4-FFF2-40B4-BE49-F238E27FC236}">
                <a16:creationId xmlns="" xmlns:a16="http://schemas.microsoft.com/office/drawing/2014/main" id="{DF22D862-EA3C-CC41-A3A4-700510922E28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2" name="Imagen 5">
            <a:extLst>
              <a:ext uri="{FF2B5EF4-FFF2-40B4-BE49-F238E27FC236}">
                <a16:creationId xmlns="" xmlns:a16="http://schemas.microsoft.com/office/drawing/2014/main" id="{ABBC5210-DF08-E746-901C-904974E8E1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3" name="Conector recto 6">
            <a:extLst>
              <a:ext uri="{FF2B5EF4-FFF2-40B4-BE49-F238E27FC236}">
                <a16:creationId xmlns="" xmlns:a16="http://schemas.microsoft.com/office/drawing/2014/main" id="{A31B33F8-5F8E-2C46-84D2-BB00C61B993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Marcador de texto 31">
            <a:extLst>
              <a:ext uri="{FF2B5EF4-FFF2-40B4-BE49-F238E27FC236}">
                <a16:creationId xmlns="" xmlns:a16="http://schemas.microsoft.com/office/drawing/2014/main" id="{F60E6576-FEB5-634D-9F08-FEB9AE09B51C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646198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spetar las recomendaciones de seguridad hechas por los fabricantes en el manual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Verificar siempre el buen estado de la máquina antes de utilizarla. (protecciones, aislamiento, etc.). 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vise que la pieza a lijar esté firme y sujeta a un dispositivo que garantice estabilidad de la piez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Durante la operación de lijado, sujetar la máquina firmemente con ambas manos, evitando forzar máquin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s imprescindible aspirar el polvo a medida que se                   va generando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Las operaciones de comprobación, ajuste y mantenimiento, deben realizarse con la máquina parada y en lo posible, desconectada de la corriente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5" name="Marcador de texto 5">
            <a:extLst>
              <a:ext uri="{FF2B5EF4-FFF2-40B4-BE49-F238E27FC236}">
                <a16:creationId xmlns="" xmlns:a16="http://schemas.microsoft.com/office/drawing/2014/main" id="{AF0A90B9-B551-B846-8BD2-50E4FBDE689D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50006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0">
            <a:extLst>
              <a:ext uri="{FF2B5EF4-FFF2-40B4-BE49-F238E27FC236}">
                <a16:creationId xmlns="" xmlns:a16="http://schemas.microsoft.com/office/drawing/2014/main" id="{802C4CD7-F8C9-DC42-A842-F7D286273D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00999" y="-2"/>
            <a:ext cx="8001001" cy="9001125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F06018E2-CE7D-AB41-9E67-677CCDC4AC31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Fresadora eléctrica</a:t>
            </a: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22D7ACCE-A9C5-8B4C-8FAA-9A310FC350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C7155CE0-CC3C-A841-B846-EB9C163CDB38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A32B857A-5C7B-E04F-97BF-9DAE37CED751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1164656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E0377DB4-D8DB-E244-BC50-76D457D7194C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B7E97C01-A0D5-C648-AEB4-F9738A645081}"/>
              </a:ext>
            </a:extLst>
          </p:cNvPr>
          <p:cNvSpPr txBox="1">
            <a:spLocks/>
          </p:cNvSpPr>
          <p:nvPr/>
        </p:nvSpPr>
        <p:spPr>
          <a:xfrm>
            <a:off x="871538" y="3095974"/>
            <a:ext cx="6769100" cy="565305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CL"/>
            </a:defPPr>
            <a:lvl1pPr marL="399600" marR="0" indent="-399600" defTabSz="1597354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  <a:tabLst/>
              <a:defRPr sz="2200" b="0" i="0" u="none" strike="noStrike" cap="none" spc="0" baseline="0">
                <a:solidFill>
                  <a:srgbClr val="333333"/>
                </a:solidFill>
                <a:uFillTx/>
                <a:latin typeface="Arial"/>
                <a:ea typeface="Arial"/>
                <a:cs typeface="Catamaran Light" panose="00000400000000000000" pitchFamily="2" charset="0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Prohibir operar máquinas a personal no capacitado.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No se deberán aplicar cortes ni avances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 muy fuertes.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Prohibir el uso de ropa floja o suelta, anillos o relojes, cadenas y pelo suelto cuando opere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una fresadora.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Cuidar las manos cuando se aflojen los tornillos y placa angular. Las virutas deben retirase con 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           una brocha.</a:t>
            </a: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2000" dirty="0">
                <a:solidFill>
                  <a:schemeClr val="tx1"/>
                </a:solidFill>
                <a:latin typeface="ACHS Nueva Sans Medium" pitchFamily="2" charset="77"/>
              </a:rPr>
              <a:t>Se deberá usar elementos de protección personal, especialmente visual. La velocidad de la máquina deberá estar de acuerdo al tipo de herramienta y pieza a fres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200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162451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554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56E89259-DD5E-7F43-A49C-DC156850F3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33BC7149-B662-2840-A09F-34E6DAB0764A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762600" cy="6097127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uso de ropa sueltas, uso de gargantillas, anillos, relojes              y guan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la fresa al preparar pieza de trabaj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en los pies por caídas                              de material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lementos punzantes          y cortante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9" name="Imagen 21">
            <a:extLst>
              <a:ext uri="{FF2B5EF4-FFF2-40B4-BE49-F238E27FC236}">
                <a16:creationId xmlns="" xmlns:a16="http://schemas.microsoft.com/office/drawing/2014/main" id="{BC13E75E-8B5D-934C-9899-2B93C6138EF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30797B20-08E4-8E47-9C4E-60018E3258F2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04622F22-E66E-D94E-870F-3E7A5CBA87AD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24" name="Conector recto 6">
            <a:extLst>
              <a:ext uri="{FF2B5EF4-FFF2-40B4-BE49-F238E27FC236}">
                <a16:creationId xmlns="" xmlns:a16="http://schemas.microsoft.com/office/drawing/2014/main" id="{6A434CF4-4C84-404F-A1B9-949B13257285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5184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060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="" xmlns:a16="http://schemas.microsoft.com/office/drawing/2014/main" id="{E7943B83-F971-394D-9DB0-C9656074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Rectángulo 20">
            <a:extLst>
              <a:ext uri="{FF2B5EF4-FFF2-40B4-BE49-F238E27FC236}">
                <a16:creationId xmlns="" xmlns:a16="http://schemas.microsoft.com/office/drawing/2014/main" id="{BBAD84AC-C0D5-0042-8490-37C1286E9E6C}"/>
              </a:ext>
            </a:extLst>
          </p:cNvPr>
          <p:cNvSpPr/>
          <p:nvPr/>
        </p:nvSpPr>
        <p:spPr>
          <a:xfrm>
            <a:off x="0" y="0"/>
            <a:ext cx="8101012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AF15D149-8502-4D4B-9E9E-2DDBBB56E871}"/>
              </a:ext>
            </a:extLst>
          </p:cNvPr>
          <p:cNvSpPr txBox="1">
            <a:spLocks/>
          </p:cNvSpPr>
          <p:nvPr/>
        </p:nvSpPr>
        <p:spPr>
          <a:xfrm>
            <a:off x="-1537780" y="649394"/>
            <a:ext cx="6182408" cy="610116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>
            <a:lvl1pPr algn="ctr" defTabSz="1422402" rtl="0" eaLnBrk="1" latinLnBrk="0" hangingPunct="1">
              <a:spcBef>
                <a:spcPct val="0"/>
              </a:spcBef>
              <a:buNone/>
              <a:defRPr sz="68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Objetivos</a:t>
            </a:r>
          </a:p>
        </p:txBody>
      </p:sp>
      <p:pic>
        <p:nvPicPr>
          <p:cNvPr id="21" name="Imagen 5">
            <a:extLst>
              <a:ext uri="{FF2B5EF4-FFF2-40B4-BE49-F238E27FC236}">
                <a16:creationId xmlns="" xmlns:a16="http://schemas.microsoft.com/office/drawing/2014/main" id="{D2BA3E16-90B9-C84A-B4E6-C1790505CC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2" name="Conector recto 6">
            <a:extLst>
              <a:ext uri="{FF2B5EF4-FFF2-40B4-BE49-F238E27FC236}">
                <a16:creationId xmlns="" xmlns:a16="http://schemas.microsoft.com/office/drawing/2014/main" id="{7E1D4C2D-9246-5044-B4DD-03A1FD5C51D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1 Rectángulo">
            <a:extLst>
              <a:ext uri="{FF2B5EF4-FFF2-40B4-BE49-F238E27FC236}">
                <a16:creationId xmlns="" xmlns:a16="http://schemas.microsoft.com/office/drawing/2014/main" id="{A22C4D09-877B-9E47-AB82-5F1AB548306C}"/>
              </a:ext>
            </a:extLst>
          </p:cNvPr>
          <p:cNvSpPr/>
          <p:nvPr/>
        </p:nvSpPr>
        <p:spPr>
          <a:xfrm>
            <a:off x="1480769" y="3910000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24" name="18 Rectángulo">
            <a:extLst>
              <a:ext uri="{FF2B5EF4-FFF2-40B4-BE49-F238E27FC236}">
                <a16:creationId xmlns="" xmlns:a16="http://schemas.microsoft.com/office/drawing/2014/main" id="{D4A04589-D303-F646-B85B-A8C31B277E7E}"/>
              </a:ext>
            </a:extLst>
          </p:cNvPr>
          <p:cNvSpPr/>
          <p:nvPr/>
        </p:nvSpPr>
        <p:spPr>
          <a:xfrm>
            <a:off x="8856077" y="4511846"/>
            <a:ext cx="623285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2200" dirty="0">
                <a:solidFill>
                  <a:srgbClr val="000000"/>
                </a:solidFill>
                <a:latin typeface="ACHS Nueva Sans Medium" pitchFamily="2" charset="77"/>
                <a:cs typeface="Arial" panose="020B0604020202020204" pitchFamily="34" charset="0"/>
              </a:rPr>
              <a:t>Ser trabajador de empresas que se encuentran afiliadas a la ACHS.</a:t>
            </a:r>
          </a:p>
        </p:txBody>
      </p:sp>
      <p:sp>
        <p:nvSpPr>
          <p:cNvPr id="25" name="21 Rectángulo">
            <a:extLst>
              <a:ext uri="{FF2B5EF4-FFF2-40B4-BE49-F238E27FC236}">
                <a16:creationId xmlns="" xmlns:a16="http://schemas.microsoft.com/office/drawing/2014/main" id="{18EC6AFC-EF3E-734F-8D69-18089E391128}"/>
              </a:ext>
            </a:extLst>
          </p:cNvPr>
          <p:cNvSpPr/>
          <p:nvPr/>
        </p:nvSpPr>
        <p:spPr>
          <a:xfrm>
            <a:off x="1480770" y="4523209"/>
            <a:ext cx="565180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r>
              <a:rPr lang="es-CL" sz="2200" dirty="0">
                <a:solidFill>
                  <a:srgbClr val="000000"/>
                </a:solidFill>
                <a:latin typeface="ACHS Nueva Sans Medium" pitchFamily="2" charset="77"/>
              </a:rPr>
              <a:t>Identificar los incidentes típicos que ocurren en el uso de las herramientas eléctricas más comunes.</a:t>
            </a:r>
          </a:p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endParaRPr lang="es-CL" sz="22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indent="-285750">
              <a:buClr>
                <a:srgbClr val="12BF45"/>
              </a:buClr>
              <a:buFont typeface="Arial" pitchFamily="34" charset="0"/>
              <a:buChar char="•"/>
            </a:pPr>
            <a:r>
              <a:rPr lang="es-CL" sz="2200" dirty="0">
                <a:solidFill>
                  <a:srgbClr val="000000"/>
                </a:solidFill>
                <a:latin typeface="ACHS Nueva Sans Medium" pitchFamily="2" charset="77"/>
              </a:rPr>
              <a:t>Conocer las medidas preventivas en la utilización de las herramientas eléctricas mas comunes.</a:t>
            </a:r>
          </a:p>
          <a:p>
            <a:pPr>
              <a:buClr>
                <a:srgbClr val="12BF45"/>
              </a:buClr>
            </a:pPr>
            <a:endParaRPr lang="es-ES" sz="2200" dirty="0">
              <a:solidFill>
                <a:srgbClr val="000000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6" name="21 Rectángulo">
            <a:extLst>
              <a:ext uri="{FF2B5EF4-FFF2-40B4-BE49-F238E27FC236}">
                <a16:creationId xmlns="" xmlns:a16="http://schemas.microsoft.com/office/drawing/2014/main" id="{D9E9AD03-56C9-7D47-8C7D-781969929CDA}"/>
              </a:ext>
            </a:extLst>
          </p:cNvPr>
          <p:cNvSpPr/>
          <p:nvPr/>
        </p:nvSpPr>
        <p:spPr>
          <a:xfrm>
            <a:off x="8860881" y="3898637"/>
            <a:ext cx="4618482" cy="447791"/>
          </a:xfrm>
          <a:prstGeom prst="rect">
            <a:avLst/>
          </a:prstGeom>
        </p:spPr>
        <p:txBody>
          <a:bodyPr wrap="square" lIns="91429" tIns="47226" rIns="91429" bIns="45714">
            <a:spAutoFit/>
          </a:bodyPr>
          <a:lstStyle/>
          <a:p>
            <a:pPr defTabSz="1199516">
              <a:defRPr/>
            </a:pPr>
            <a:r>
              <a:rPr lang="es-ES" sz="23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BB750117-F175-F34D-99C4-FEDE1F3398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6276" y="2483002"/>
            <a:ext cx="1034529" cy="101784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F9E21AAF-9523-094F-8878-AFBC7EDD15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56077" y="2439716"/>
            <a:ext cx="1051215" cy="10512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48537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5">
            <a:extLst>
              <a:ext uri="{FF2B5EF4-FFF2-40B4-BE49-F238E27FC236}">
                <a16:creationId xmlns="" xmlns:a16="http://schemas.microsoft.com/office/drawing/2014/main" id="{9F84E598-20CF-2841-A38C-A406A4CE19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C1765814-E6C0-544E-B86C-46DCAFA51EAB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762600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</a:rPr>
              <a:t>Medidas preventivas</a:t>
            </a: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Prohibir operar máquinas a personal no capacitado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alizar inspección de la herramienta antes de comenzar a trabajar, especialmente el estado de los cable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Utilizar solo para atornillar                                   o destornillar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vitar entrar en contacto con el accesorio de giro en rotación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l equipo debe tener empuñadura con pulsador, al dejar de apretarlo se para la máquina automáticamente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4" name="Imagen 21">
            <a:extLst>
              <a:ext uri="{FF2B5EF4-FFF2-40B4-BE49-F238E27FC236}">
                <a16:creationId xmlns="" xmlns:a16="http://schemas.microsoft.com/office/drawing/2014/main" id="{70DCBF8E-9230-2747-8699-1531DE85925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226142ED-A3BF-5D49-B433-39CC8CB1920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DC847F3-2DC6-9643-A58D-73EADDB0AF9C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45E14F1C-76D3-6049-927C-8DEC3A935327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66987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5">
            <a:extLst>
              <a:ext uri="{FF2B5EF4-FFF2-40B4-BE49-F238E27FC236}">
                <a16:creationId xmlns="" xmlns:a16="http://schemas.microsoft.com/office/drawing/2014/main" id="{5278CEA8-479D-7C48-999A-5DCF3C403D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5" name="Marcador de texto 31">
            <a:extLst>
              <a:ext uri="{FF2B5EF4-FFF2-40B4-BE49-F238E27FC236}">
                <a16:creationId xmlns="" xmlns:a16="http://schemas.microsoft.com/office/drawing/2014/main" id="{EC5EF5E4-B8BF-4641-81CC-B2E0F5CB28A7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5019426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  <a:cs typeface="Arial" panose="020B0604020202020204" pitchFamily="34" charset="0"/>
              </a:rPr>
              <a:t>Medidas preventivas</a:t>
            </a:r>
            <a:endParaRPr lang="es-ES" sz="16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Antes de realizar operaciones de limpieza y mantenimiento, desconectar de la red eléctrica o de la baterí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Sustituir las herramientas gastadas                   o agrietada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Realizar el cambio de accesorios con el equipo desconectado de la red eléctric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Comprobar que los accesorios están en perfecto estado antes de su colocación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</a:rPr>
              <a:t>Escoger accesorios adecuado para cada aplicación y sólo aquellos específicos para este tipo de máquinas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6" name="Imagen 21">
            <a:extLst>
              <a:ext uri="{FF2B5EF4-FFF2-40B4-BE49-F238E27FC236}">
                <a16:creationId xmlns="" xmlns:a16="http://schemas.microsoft.com/office/drawing/2014/main" id="{ECBFC02D-26E9-7642-BC77-DC07F49ABE6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2" t="8266" b="3477"/>
          <a:stretch/>
        </p:blipFill>
        <p:spPr>
          <a:xfrm>
            <a:off x="6121769" y="1923112"/>
            <a:ext cx="9880231" cy="7078013"/>
          </a:xfrm>
          <a:prstGeom prst="rect">
            <a:avLst/>
          </a:prstGeom>
        </p:spPr>
      </p:pic>
      <p:sp>
        <p:nvSpPr>
          <p:cNvPr id="7" name="Título 30">
            <a:extLst>
              <a:ext uri="{FF2B5EF4-FFF2-40B4-BE49-F238E27FC236}">
                <a16:creationId xmlns="" xmlns:a16="http://schemas.microsoft.com/office/drawing/2014/main" id="{CDD89F32-7035-284A-9C24-7E05064156B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sp>
        <p:nvSpPr>
          <p:cNvPr id="8" name="Título 30">
            <a:extLst>
              <a:ext uri="{FF2B5EF4-FFF2-40B4-BE49-F238E27FC236}">
                <a16:creationId xmlns="" xmlns:a16="http://schemas.microsoft.com/office/drawing/2014/main" id="{9480F571-4E76-2444-BEF5-D989D70068A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Atornillador eléctrico</a:t>
            </a:r>
          </a:p>
        </p:txBody>
      </p:sp>
      <p:cxnSp>
        <p:nvCxnSpPr>
          <p:cNvPr id="9" name="Conector recto 6">
            <a:extLst>
              <a:ext uri="{FF2B5EF4-FFF2-40B4-BE49-F238E27FC236}">
                <a16:creationId xmlns="" xmlns:a16="http://schemas.microsoft.com/office/drawing/2014/main" id="{D13A8385-92C8-A34F-B1AF-1AE69A028483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0094580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774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o 8">
            <a:extLst>
              <a:ext uri="{FF2B5EF4-FFF2-40B4-BE49-F238E27FC236}">
                <a16:creationId xmlns="" xmlns:a16="http://schemas.microsoft.com/office/drawing/2014/main" id="{15BF2FBE-EFA8-834B-861B-69ABD0DB5D01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22" name="Imagen 4">
              <a:extLst>
                <a:ext uri="{FF2B5EF4-FFF2-40B4-BE49-F238E27FC236}">
                  <a16:creationId xmlns="" xmlns:a16="http://schemas.microsoft.com/office/drawing/2014/main" id="{1E4E707C-75E2-4842-B298-C729F4238F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23" name="Triángulo isósceles 5">
              <a:extLst>
                <a:ext uri="{FF2B5EF4-FFF2-40B4-BE49-F238E27FC236}">
                  <a16:creationId xmlns="" xmlns:a16="http://schemas.microsoft.com/office/drawing/2014/main" id="{6ADEF81B-FEE5-BA44-89C9-7D3AE64CE096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4" name="Rectángulo 6">
              <a:extLst>
                <a:ext uri="{FF2B5EF4-FFF2-40B4-BE49-F238E27FC236}">
                  <a16:creationId xmlns="" xmlns:a16="http://schemas.microsoft.com/office/drawing/2014/main" id="{57FDDEE5-4D6B-6E4E-9AFE-5DB6940B68ED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5" name="Rectángulo 7">
              <a:extLst>
                <a:ext uri="{FF2B5EF4-FFF2-40B4-BE49-F238E27FC236}">
                  <a16:creationId xmlns="" xmlns:a16="http://schemas.microsoft.com/office/drawing/2014/main" id="{1E3E830E-E0F7-124D-A907-9222E69D6805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26" name="Marcador de texto 5">
            <a:extLst>
              <a:ext uri="{FF2B5EF4-FFF2-40B4-BE49-F238E27FC236}">
                <a16:creationId xmlns="" xmlns:a16="http://schemas.microsoft.com/office/drawing/2014/main" id="{D45441C8-7020-9341-8AE0-380AD04A1D01}"/>
              </a:ext>
            </a:extLst>
          </p:cNvPr>
          <p:cNvSpPr txBox="1">
            <a:spLocks/>
          </p:cNvSpPr>
          <p:nvPr/>
        </p:nvSpPr>
        <p:spPr>
          <a:xfrm>
            <a:off x="809456" y="2163553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  <a:p>
            <a:pPr marL="0" indent="0">
              <a:buFontTx/>
              <a:buNone/>
            </a:pPr>
            <a:endParaRPr lang="es-CL" sz="2200" kern="0" dirty="0">
              <a:solidFill>
                <a:srgbClr val="12BF45"/>
              </a:solidFill>
              <a:latin typeface="ACHS Nueva Serif" pitchFamily="2" charset="77"/>
            </a:endParaRPr>
          </a:p>
        </p:txBody>
      </p:sp>
      <p:sp>
        <p:nvSpPr>
          <p:cNvPr id="27" name="Título 30">
            <a:extLst>
              <a:ext uri="{FF2B5EF4-FFF2-40B4-BE49-F238E27FC236}">
                <a16:creationId xmlns="" xmlns:a16="http://schemas.microsoft.com/office/drawing/2014/main" id="{77FE4F9F-6549-C045-AE09-A474EB38468F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28" name="Título 30">
            <a:extLst>
              <a:ext uri="{FF2B5EF4-FFF2-40B4-BE49-F238E27FC236}">
                <a16:creationId xmlns="" xmlns:a16="http://schemas.microsoft.com/office/drawing/2014/main" id="{F96C4EE8-2517-F649-816B-50DC9872F4C7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9" name="Imagen 5">
            <a:extLst>
              <a:ext uri="{FF2B5EF4-FFF2-40B4-BE49-F238E27FC236}">
                <a16:creationId xmlns="" xmlns:a16="http://schemas.microsoft.com/office/drawing/2014/main" id="{1C5DE751-E234-C145-91CD-80C92CFA7C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30" name="Conector recto 6">
            <a:extLst>
              <a:ext uri="{FF2B5EF4-FFF2-40B4-BE49-F238E27FC236}">
                <a16:creationId xmlns="" xmlns:a16="http://schemas.microsoft.com/office/drawing/2014/main" id="{D6986F4A-E36C-0F45-A516-D2F6750149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Marcador de texto 31">
            <a:extLst>
              <a:ext uri="{FF2B5EF4-FFF2-40B4-BE49-F238E27FC236}">
                <a16:creationId xmlns="" xmlns:a16="http://schemas.microsoft.com/office/drawing/2014/main" id="{D16B6029-6A9E-B243-B663-A0D90929B78B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11847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nergía eléctric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trapamiento por uso de ropa sueltas, uso de gargantillas, anillos, relojes y guan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rtes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Golpes en los pies por caídas de material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ntacto con elementos punzantes y cortante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979478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5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o 8">
            <a:extLst>
              <a:ext uri="{FF2B5EF4-FFF2-40B4-BE49-F238E27FC236}">
                <a16:creationId xmlns="" xmlns:a16="http://schemas.microsoft.com/office/drawing/2014/main" id="{AF018876-8D16-364E-9D61-8E4B38C9633E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11" name="Imagen 4">
              <a:extLst>
                <a:ext uri="{FF2B5EF4-FFF2-40B4-BE49-F238E27FC236}">
                  <a16:creationId xmlns="" xmlns:a16="http://schemas.microsoft.com/office/drawing/2014/main" id="{1BFCD579-0DAC-E64B-B965-8E7C7E7F2F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12" name="Triángulo isósceles 5">
              <a:extLst>
                <a:ext uri="{FF2B5EF4-FFF2-40B4-BE49-F238E27FC236}">
                  <a16:creationId xmlns="" xmlns:a16="http://schemas.microsoft.com/office/drawing/2014/main" id="{96263158-7917-BE4F-A08B-8F9EFDE14DBB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3" name="Rectángulo 6">
              <a:extLst>
                <a:ext uri="{FF2B5EF4-FFF2-40B4-BE49-F238E27FC236}">
                  <a16:creationId xmlns="" xmlns:a16="http://schemas.microsoft.com/office/drawing/2014/main" id="{788F072D-5A2F-8C47-BA0A-8BC18AEDEBC1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4" name="Rectángulo 7">
              <a:extLst>
                <a:ext uri="{FF2B5EF4-FFF2-40B4-BE49-F238E27FC236}">
                  <a16:creationId xmlns="" xmlns:a16="http://schemas.microsoft.com/office/drawing/2014/main" id="{D7689EDC-0364-4C4F-A464-9334D5DA2CD5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15" name="Título 30">
            <a:extLst>
              <a:ext uri="{FF2B5EF4-FFF2-40B4-BE49-F238E27FC236}">
                <a16:creationId xmlns="" xmlns:a16="http://schemas.microsoft.com/office/drawing/2014/main" id="{F7B6C015-C4EE-264E-9D47-EB1FC6BE6F48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C48B466A-5CCB-0E4B-AD00-053608EE265D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B52A049F-236B-DF4D-9829-72222DDC0E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8" name="Conector recto 6">
            <a:extLst>
              <a:ext uri="{FF2B5EF4-FFF2-40B4-BE49-F238E27FC236}">
                <a16:creationId xmlns="" xmlns:a16="http://schemas.microsoft.com/office/drawing/2014/main" id="{31CDB3BB-6AEE-954A-B53F-28EC08AEC8D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31">
            <a:extLst>
              <a:ext uri="{FF2B5EF4-FFF2-40B4-BE49-F238E27FC236}">
                <a16:creationId xmlns="" xmlns:a16="http://schemas.microsoft.com/office/drawing/2014/main" id="{AD7CA053-6511-8141-ADF2-9B67198C5339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5597889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spere hasta que las cuchillas se paren antes de dejar             la herramient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deje nunca trapos, ropas, cuerdas, cordeles u otro similar en los alrededores del área de trabaj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vite cortar clavos. Busque y extraiga todos los clavos de la pieza de trabajo antes de realizar la opera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Utilice solamente cuchillas afiladas. Maneje las cuchillas con mucho cuid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segúrese que los tornillos de instalación de la cuchilla estén apretados antes de realizar la operación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ostenga la herramienta firmemen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20" name="Marcador de texto 5">
            <a:extLst>
              <a:ext uri="{FF2B5EF4-FFF2-40B4-BE49-F238E27FC236}">
                <a16:creationId xmlns="" xmlns:a16="http://schemas.microsoft.com/office/drawing/2014/main" id="{A4BB45F9-7B64-2D40-92E4-64251540DC60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26038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9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8">
            <a:extLst>
              <a:ext uri="{FF2B5EF4-FFF2-40B4-BE49-F238E27FC236}">
                <a16:creationId xmlns="" xmlns:a16="http://schemas.microsoft.com/office/drawing/2014/main" id="{CC48B661-333B-0D40-A960-47E7728B5419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5" name="Imagen 4">
              <a:extLst>
                <a:ext uri="{FF2B5EF4-FFF2-40B4-BE49-F238E27FC236}">
                  <a16:creationId xmlns="" xmlns:a16="http://schemas.microsoft.com/office/drawing/2014/main" id="{DFF16CC9-A710-9041-AC32-801FF2D1A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6" name="Triángulo isósceles 5">
              <a:extLst>
                <a:ext uri="{FF2B5EF4-FFF2-40B4-BE49-F238E27FC236}">
                  <a16:creationId xmlns="" xmlns:a16="http://schemas.microsoft.com/office/drawing/2014/main" id="{0C4865F5-9629-DE4A-9DD5-48D74A280618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C38B4199-999D-944E-A48B-6BDDD369AFA6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8" name="Rectángulo 7">
              <a:extLst>
                <a:ext uri="{FF2B5EF4-FFF2-40B4-BE49-F238E27FC236}">
                  <a16:creationId xmlns="" xmlns:a16="http://schemas.microsoft.com/office/drawing/2014/main" id="{88249A7B-8BFB-FA4A-B116-349392FBB59D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9" name="Título 30">
            <a:extLst>
              <a:ext uri="{FF2B5EF4-FFF2-40B4-BE49-F238E27FC236}">
                <a16:creationId xmlns="" xmlns:a16="http://schemas.microsoft.com/office/drawing/2014/main" id="{53150ACD-A8B7-DD4F-B657-8EEEDE0B9D7D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6B02630D-13F2-6F4B-B370-E6E26129B5B9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0428F865-EF43-984E-AABB-919E8FB12E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FC9D93A1-F1F8-1748-B759-2BD5571031CA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67CA3470-DA31-8B4B-A6A1-A9A9AC8EE610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6101945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Mantenga las manos alejadas de las partes rotativ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Espere hasta que la cuchilla haya alcanzado toda su velocidad antes de empezar a cort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ntes de utilizar la herramienta en la pieza de trabajo, déjela funcionar durante un rato. Vea que no haya vibraciones u oscilaciones que puedan indicar una instalación mal hecha o una cuchilla mal equilibrad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segúrese de que la cuchilla no toque la pieza de trabajo antes de que se conecte el interrupto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desconectar, espere que las cuchillas hayan parado totalmente antes de realizar cualquier tipo de ajus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unca ponga el dedo en la salida de virutas.                            Puede obstruirse cuando se corta madera húmeda. 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buClr>
                <a:srgbClr val="12BF45"/>
              </a:buClr>
              <a:buNone/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36580152-8C77-EC43-8479-E8E6A726B9C4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66830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3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8">
            <a:extLst>
              <a:ext uri="{FF2B5EF4-FFF2-40B4-BE49-F238E27FC236}">
                <a16:creationId xmlns="" xmlns:a16="http://schemas.microsoft.com/office/drawing/2014/main" id="{B733A744-A451-8945-98F6-6E2193521DD2}"/>
              </a:ext>
            </a:extLst>
          </p:cNvPr>
          <p:cNvGrpSpPr/>
          <p:nvPr/>
        </p:nvGrpSpPr>
        <p:grpSpPr>
          <a:xfrm>
            <a:off x="8000998" y="1044054"/>
            <a:ext cx="8001002" cy="7957072"/>
            <a:chOff x="8000998" y="-2"/>
            <a:chExt cx="8001002" cy="7957072"/>
          </a:xfrm>
        </p:grpSpPr>
        <p:pic>
          <p:nvPicPr>
            <p:cNvPr id="5" name="Imagen 4">
              <a:extLst>
                <a:ext uri="{FF2B5EF4-FFF2-40B4-BE49-F238E27FC236}">
                  <a16:creationId xmlns="" xmlns:a16="http://schemas.microsoft.com/office/drawing/2014/main" id="{82E0E63D-5118-1544-81B2-2BBA9E58AE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1600"/>
            <a:stretch/>
          </p:blipFill>
          <p:spPr>
            <a:xfrm>
              <a:off x="8000998" y="-2"/>
              <a:ext cx="8001002" cy="7957072"/>
            </a:xfrm>
            <a:prstGeom prst="rect">
              <a:avLst/>
            </a:prstGeom>
          </p:spPr>
        </p:pic>
        <p:sp>
          <p:nvSpPr>
            <p:cNvPr id="6" name="Triángulo isósceles 5">
              <a:extLst>
                <a:ext uri="{FF2B5EF4-FFF2-40B4-BE49-F238E27FC236}">
                  <a16:creationId xmlns="" xmlns:a16="http://schemas.microsoft.com/office/drawing/2014/main" id="{81B852BD-E7F8-6D40-9BD8-69CB20CF31C5}"/>
                </a:ext>
              </a:extLst>
            </p:cNvPr>
            <p:cNvSpPr/>
            <p:nvPr/>
          </p:nvSpPr>
          <p:spPr>
            <a:xfrm>
              <a:off x="12393488" y="5364658"/>
              <a:ext cx="864096" cy="792088"/>
            </a:xfrm>
            <a:prstGeom prst="triangl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7" name="Rectángulo 6">
              <a:extLst>
                <a:ext uri="{FF2B5EF4-FFF2-40B4-BE49-F238E27FC236}">
                  <a16:creationId xmlns="" xmlns:a16="http://schemas.microsoft.com/office/drawing/2014/main" id="{98B5F52B-4570-B743-901A-8F082BEE8F3F}"/>
                </a:ext>
              </a:extLst>
            </p:cNvPr>
            <p:cNvSpPr/>
            <p:nvPr/>
          </p:nvSpPr>
          <p:spPr>
            <a:xfrm rot="20504931">
              <a:off x="11543783" y="5832709"/>
              <a:ext cx="1440160" cy="648072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8" name="Rectángulo 7">
              <a:extLst>
                <a:ext uri="{FF2B5EF4-FFF2-40B4-BE49-F238E27FC236}">
                  <a16:creationId xmlns="" xmlns:a16="http://schemas.microsoft.com/office/drawing/2014/main" id="{B72B8525-6D19-604F-B885-DEFF44EB6539}"/>
                </a:ext>
              </a:extLst>
            </p:cNvPr>
            <p:cNvSpPr/>
            <p:nvPr/>
          </p:nvSpPr>
          <p:spPr>
            <a:xfrm rot="20127337">
              <a:off x="11537991" y="5714062"/>
              <a:ext cx="1303785" cy="180021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9" name="Título 30">
            <a:extLst>
              <a:ext uri="{FF2B5EF4-FFF2-40B4-BE49-F238E27FC236}">
                <a16:creationId xmlns="" xmlns:a16="http://schemas.microsoft.com/office/drawing/2014/main" id="{0CEE8C8B-4AB1-E645-8E22-FAADD88F9C43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Cepillo eléctrica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C89BB59C-BA92-F24A-8659-8AFBA36B32B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1" name="Imagen 5">
            <a:extLst>
              <a:ext uri="{FF2B5EF4-FFF2-40B4-BE49-F238E27FC236}">
                <a16:creationId xmlns="" xmlns:a16="http://schemas.microsoft.com/office/drawing/2014/main" id="{9E5BF926-CA88-7642-A1F0-E175C3B1A8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2" name="Conector recto 6">
            <a:extLst>
              <a:ext uri="{FF2B5EF4-FFF2-40B4-BE49-F238E27FC236}">
                <a16:creationId xmlns="" xmlns:a16="http://schemas.microsoft.com/office/drawing/2014/main" id="{1C5D2243-9844-3F42-A11B-DD943998631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Marcador de texto 31">
            <a:extLst>
              <a:ext uri="{FF2B5EF4-FFF2-40B4-BE49-F238E27FC236}">
                <a16:creationId xmlns="" xmlns:a16="http://schemas.microsoft.com/office/drawing/2014/main" id="{A0D60397-854B-D24D-978F-DA3843F1DCDE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687487" cy="422973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deje la herramienta funcionando. Opere la herramienta solamente cuando la tenga en las mano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desconectarla póngala con la base frontal hacia arriba en un bloque de mader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ambie siempre ambas cuchillas o cubiertas del tambor, de otra manera el desequilibrio que se produciría causaría vibraciones y acortaría la vida de                                              la herramient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  <a:buNone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  <a:cs typeface="Catamaran Light" panose="000004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F3691D8F-D785-FF4D-AA35-9848FAE2EC4A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685085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3">
            <a:extLst>
              <a:ext uri="{FF2B5EF4-FFF2-40B4-BE49-F238E27FC236}">
                <a16:creationId xmlns="" xmlns:a16="http://schemas.microsoft.com/office/drawing/2014/main" id="{625D2E2D-D816-1449-8A7E-CE4299D4BB08}"/>
              </a:ext>
            </a:extLst>
          </p:cNvPr>
          <p:cNvSpPr/>
          <p:nvPr/>
        </p:nvSpPr>
        <p:spPr>
          <a:xfrm flipH="1">
            <a:off x="-3" y="-35942"/>
            <a:ext cx="16202027" cy="9037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3675" dirty="0"/>
          </a:p>
        </p:txBody>
      </p:sp>
      <p:pic>
        <p:nvPicPr>
          <p:cNvPr id="22" name="Imagen 2">
            <a:extLst>
              <a:ext uri="{FF2B5EF4-FFF2-40B4-BE49-F238E27FC236}">
                <a16:creationId xmlns="" xmlns:a16="http://schemas.microsoft.com/office/drawing/2014/main" id="{CD170E43-90F2-B448-9961-5ED18D2E87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0835" y="1903841"/>
            <a:ext cx="10409776" cy="7092050"/>
          </a:xfrm>
          <a:prstGeom prst="rect">
            <a:avLst/>
          </a:prstGeom>
        </p:spPr>
      </p:pic>
      <p:sp>
        <p:nvSpPr>
          <p:cNvPr id="23" name="Título 30">
            <a:extLst>
              <a:ext uri="{FF2B5EF4-FFF2-40B4-BE49-F238E27FC236}">
                <a16:creationId xmlns="" xmlns:a16="http://schemas.microsoft.com/office/drawing/2014/main" id="{5271BCED-67E6-3843-B405-EFECA71DC79E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24" name="Imagen 5">
            <a:extLst>
              <a:ext uri="{FF2B5EF4-FFF2-40B4-BE49-F238E27FC236}">
                <a16:creationId xmlns="" xmlns:a16="http://schemas.microsoft.com/office/drawing/2014/main" id="{9F6FA19F-04A5-F546-B175-CA2DFEFD46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40B7FC22-C36D-2E4A-B3BE-285F9DF41B69}"/>
              </a:ext>
            </a:extLst>
          </p:cNvPr>
          <p:cNvSpPr/>
          <p:nvPr/>
        </p:nvSpPr>
        <p:spPr>
          <a:xfrm>
            <a:off x="721168" y="708157"/>
            <a:ext cx="34194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600" dirty="0">
                <a:solidFill>
                  <a:srgbClr val="15C047"/>
                </a:solidFill>
                <a:latin typeface="ACHS Nueva Sans Medium" pitchFamily="2" charset="77"/>
                <a:cs typeface="Calibri" panose="020F0502020204030204" pitchFamily="34" charset="0"/>
              </a:rPr>
              <a:t>Conclusiones</a:t>
            </a:r>
          </a:p>
        </p:txBody>
      </p:sp>
      <p:cxnSp>
        <p:nvCxnSpPr>
          <p:cNvPr id="26" name="Conector recto 6">
            <a:extLst>
              <a:ext uri="{FF2B5EF4-FFF2-40B4-BE49-F238E27FC236}">
                <a16:creationId xmlns="" xmlns:a16="http://schemas.microsoft.com/office/drawing/2014/main" id="{132998C8-4FDF-5047-823A-39688DC75622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Marcador de texto 31">
            <a:extLst>
              <a:ext uri="{FF2B5EF4-FFF2-40B4-BE49-F238E27FC236}">
                <a16:creationId xmlns="" xmlns:a16="http://schemas.microsoft.com/office/drawing/2014/main" id="{3BFDD998-8BAA-F343-9BE2-B44CBEC36FE3}"/>
              </a:ext>
            </a:extLst>
          </p:cNvPr>
          <p:cNvSpPr txBox="1">
            <a:spLocks/>
          </p:cNvSpPr>
          <p:nvPr/>
        </p:nvSpPr>
        <p:spPr>
          <a:xfrm>
            <a:off x="749326" y="1859819"/>
            <a:ext cx="4875410" cy="487299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s-CL" sz="2200" b="1" dirty="0">
                <a:solidFill>
                  <a:srgbClr val="12BF45"/>
                </a:solidFill>
                <a:latin typeface="ACHS Nueva Sans SemiBold" pitchFamily="2" charset="77"/>
                <a:cs typeface="Catamaran Light" panose="00000400000000000000" pitchFamily="2" charset="0"/>
              </a:rPr>
              <a:t>Ten siempre presente que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  <a:cs typeface="Catamaran Light" panose="00000400000000000000" pitchFamily="2" charset="0"/>
              </a:rPr>
              <a:t>El uso de herramientas eléctricas puede hacer que su trabajo transcurra más uniformemente y con mayor facilidad.        Con una buena capacitación, mantención adecuada de las herramientas y con buenos hábitos de seguridad en el trabajo, las herramientas eléctricas aumentan la eficiencia en el trabajo. Por lo que aplica las recomendaciones revisadas en esta charla y realiza tu trabajo de manera segura.</a:t>
            </a:r>
          </a:p>
          <a:p>
            <a:pPr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675345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0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781127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7340501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590625" y="652049"/>
            <a:ext cx="7991290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571725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781127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9202041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53827" y="652050"/>
            <a:ext cx="1627018" cy="664668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7530717" y="3812977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315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8007" y="3383756"/>
            <a:ext cx="2221307" cy="22336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4186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0" y="-1"/>
            <a:ext cx="16002000" cy="9001125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150"/>
            <a:endParaRPr lang="es-CL" sz="2363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781127" y="2063085"/>
            <a:ext cx="2891700" cy="4876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150"/>
              <a:endParaRPr lang="es-CL" sz="2363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7340501" y="2154600"/>
            <a:ext cx="6936300" cy="4691925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0015" tIns="60008" rIns="120015" bIns="60008" numCol="1" anchor="t" anchorCtr="0" compatLnSpc="1">
            <a:prstTxWarp prst="textNoShape">
              <a:avLst/>
            </a:prstTxWarp>
          </a:bodyPr>
          <a:lstStyle/>
          <a:p>
            <a:pPr defTabSz="1200150"/>
            <a:endParaRPr lang="es-CL" sz="2363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590625" y="652049"/>
            <a:ext cx="7991290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00150"/>
            <a:r>
              <a:rPr lang="es-CL" sz="2625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571725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781127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9202041" y="7256075"/>
            <a:ext cx="29139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00150"/>
            <a:r>
              <a:rPr lang="es-CL" sz="21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53827" y="652050"/>
            <a:ext cx="1627018" cy="664668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7680334" y="3988018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315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315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2308" y="3381498"/>
            <a:ext cx="2238128" cy="22381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92128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0702400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5418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ABC4398D-7C20-BD40-ABE6-217AD635A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F125EB0B-0A45-4842-979C-C0AE70176728}"/>
              </a:ext>
            </a:extLst>
          </p:cNvPr>
          <p:cNvSpPr txBox="1">
            <a:spLocks/>
          </p:cNvSpPr>
          <p:nvPr/>
        </p:nvSpPr>
        <p:spPr>
          <a:xfrm>
            <a:off x="721168" y="69947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Introducción</a:t>
            </a:r>
          </a:p>
        </p:txBody>
      </p:sp>
      <p:pic>
        <p:nvPicPr>
          <p:cNvPr id="11" name="Imagen 4">
            <a:extLst>
              <a:ext uri="{FF2B5EF4-FFF2-40B4-BE49-F238E27FC236}">
                <a16:creationId xmlns="" xmlns:a16="http://schemas.microsoft.com/office/drawing/2014/main" id="{159CCB70-D300-E646-ABC8-05758E7D9EF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" r="3769"/>
          <a:stretch/>
        </p:blipFill>
        <p:spPr>
          <a:xfrm>
            <a:off x="6084788" y="1899010"/>
            <a:ext cx="9917212" cy="7102115"/>
          </a:xfrm>
          <a:prstGeom prst="rect">
            <a:avLst/>
          </a:prstGeom>
        </p:spPr>
      </p:pic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CE6D0541-6B5F-B241-902A-964E12FD475D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4734596" cy="718966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latin typeface="ACHS Nueva Sans Medium" pitchFamily="2" charset="77"/>
              </a:rPr>
              <a:t>Las lesiones que se producen con las herramientas eléctricas, generalmente ocurren por el uso indebido o el empleo de herramientas defectuosas, lo que genera lesiones graves al trabajador, desde una herida a fracturas, amputaciones, lesiones oculares y shock eléctrico.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800" kern="0" dirty="0">
              <a:latin typeface="ACHS Nueva Sans Medium" pitchFamily="2" charset="77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800" kern="0" dirty="0">
                <a:latin typeface="ACHS Nueva Sans Medium" pitchFamily="2" charset="77"/>
              </a:rPr>
              <a:t>Dado lo anterior, es esencial usar de modo seguro las herramientas y equipos eléctricos, controlar sus riesgos y recomendar medidas preventivas con el fin de evitar la ocurrencia de accidentes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Font typeface="Arial" panose="020B0604020202020204" pitchFamily="34" charset="0"/>
              <a:buChar char="•"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18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sz="2000" kern="0" dirty="0">
              <a:latin typeface="ACHS Nueva Sans Medium" pitchFamily="2" charset="77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ES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alt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15C047"/>
              </a:buClr>
              <a:buSzPct val="100000"/>
              <a:buNone/>
            </a:pPr>
            <a:endParaRPr lang="es-CL" sz="2000" kern="0" dirty="0">
              <a:latin typeface="ACHS Nueva Sans Medium" pitchFamily="2" charset="77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2AA7A9B2-3C9F-B347-9BBE-D639253F48FB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67450838-9E61-5548-8D3E-156A181E97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75371AD6-3D9A-6441-A06A-B7046A4A2F2E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733983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391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C8070C5-09DC-C84C-9F5D-9A71365D9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2" name="Rectángulo 20">
            <a:extLst>
              <a:ext uri="{FF2B5EF4-FFF2-40B4-BE49-F238E27FC236}">
                <a16:creationId xmlns="" xmlns:a16="http://schemas.microsoft.com/office/drawing/2014/main" id="{30FD0C8C-D201-4A4E-8166-56B6444113EF}"/>
              </a:ext>
            </a:extLst>
          </p:cNvPr>
          <p:cNvSpPr/>
          <p:nvPr/>
        </p:nvSpPr>
        <p:spPr>
          <a:xfrm>
            <a:off x="0" y="0"/>
            <a:ext cx="8101012" cy="9113639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824EFF50-EC78-2C4E-89AB-F82FEC9F9DCB}"/>
              </a:ext>
            </a:extLst>
          </p:cNvPr>
          <p:cNvSpPr txBox="1">
            <a:spLocks/>
          </p:cNvSpPr>
          <p:nvPr/>
        </p:nvSpPr>
        <p:spPr>
          <a:xfrm>
            <a:off x="2407209" y="1910231"/>
            <a:ext cx="4782562" cy="1278294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El operador que va a trabajar con la herramienta debe estar capacitado en el manejo de la misma. Asimismo, debe tener los elementos de protección que correspondan (protección ocular, protección auditiva, guantes u otro  que corresponda)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5" name="Marcador de texto 31">
            <a:extLst>
              <a:ext uri="{FF2B5EF4-FFF2-40B4-BE49-F238E27FC236}">
                <a16:creationId xmlns="" xmlns:a16="http://schemas.microsoft.com/office/drawing/2014/main" id="{CFB3B35B-D8A1-E741-9906-24BABF970FB9}"/>
              </a:ext>
            </a:extLst>
          </p:cNvPr>
          <p:cNvSpPr txBox="1">
            <a:spLocks/>
          </p:cNvSpPr>
          <p:nvPr/>
        </p:nvSpPr>
        <p:spPr>
          <a:xfrm>
            <a:off x="10523339" y="1910231"/>
            <a:ext cx="4640618" cy="1000687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Cualquier mantención que requiera debe ser realizada por el servicio técnico autorizado, y no debe ser manipulada por personal de la empres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6" name="Marcador de texto 31">
            <a:extLst>
              <a:ext uri="{FF2B5EF4-FFF2-40B4-BE49-F238E27FC236}">
                <a16:creationId xmlns="" xmlns:a16="http://schemas.microsoft.com/office/drawing/2014/main" id="{BF11F310-16D2-014B-BDA1-9D003F258E77}"/>
              </a:ext>
            </a:extLst>
          </p:cNvPr>
          <p:cNvSpPr txBox="1">
            <a:spLocks/>
          </p:cNvSpPr>
          <p:nvPr/>
        </p:nvSpPr>
        <p:spPr>
          <a:xfrm>
            <a:off x="10523340" y="3663361"/>
            <a:ext cx="4640617" cy="167440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Las herramientas deben conectarse a través de un enchufe a la corriente eléctrica y en ningún caso se deben conectar directamente los cable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7" name="Marcador de texto 31">
            <a:extLst>
              <a:ext uri="{FF2B5EF4-FFF2-40B4-BE49-F238E27FC236}">
                <a16:creationId xmlns="" xmlns:a16="http://schemas.microsoft.com/office/drawing/2014/main" id="{B3A158B7-F068-BD41-BC4F-258F034439F3}"/>
              </a:ext>
            </a:extLst>
          </p:cNvPr>
          <p:cNvSpPr txBox="1">
            <a:spLocks/>
          </p:cNvSpPr>
          <p:nvPr/>
        </p:nvSpPr>
        <p:spPr>
          <a:xfrm>
            <a:off x="10523340" y="5337762"/>
            <a:ext cx="4640617" cy="1674401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Para las herramientas móviles deben usarse conductores, extensiones y enchufes resistentes a la humedad, al desgaste, a agentes corrosivos y de adecuada resistencia mecán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8" name="Marcador de texto 31">
            <a:extLst>
              <a:ext uri="{FF2B5EF4-FFF2-40B4-BE49-F238E27FC236}">
                <a16:creationId xmlns="" xmlns:a16="http://schemas.microsoft.com/office/drawing/2014/main" id="{440F0AD4-ABDA-C24A-9E04-3B9FC78268E0}"/>
              </a:ext>
            </a:extLst>
          </p:cNvPr>
          <p:cNvSpPr txBox="1">
            <a:spLocks/>
          </p:cNvSpPr>
          <p:nvPr/>
        </p:nvSpPr>
        <p:spPr>
          <a:xfrm>
            <a:off x="2386621" y="5472911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Es fundamental que sea inspeccionada diariamente, el estado de su cable y enchufe, si su carcasa y mango están en  buenas condicione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39" name="Marcador de texto 31">
            <a:extLst>
              <a:ext uri="{FF2B5EF4-FFF2-40B4-BE49-F238E27FC236}">
                <a16:creationId xmlns="" xmlns:a16="http://schemas.microsoft.com/office/drawing/2014/main" id="{9AC54CC5-5ED3-8A45-846C-98C2C4A6837A}"/>
              </a:ext>
            </a:extLst>
          </p:cNvPr>
          <p:cNvSpPr txBox="1">
            <a:spLocks/>
          </p:cNvSpPr>
          <p:nvPr/>
        </p:nvSpPr>
        <p:spPr>
          <a:xfrm>
            <a:off x="2341890" y="3831221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Se debe revisar si tiene conexión a tierra, o si cuenta con  doble aislación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0" name="Marcador de texto 31">
            <a:extLst>
              <a:ext uri="{FF2B5EF4-FFF2-40B4-BE49-F238E27FC236}">
                <a16:creationId xmlns="" xmlns:a16="http://schemas.microsoft.com/office/drawing/2014/main" id="{29D0B445-DE72-8544-82C6-AA6156217101}"/>
              </a:ext>
            </a:extLst>
          </p:cNvPr>
          <p:cNvSpPr txBox="1">
            <a:spLocks/>
          </p:cNvSpPr>
          <p:nvPr/>
        </p:nvSpPr>
        <p:spPr>
          <a:xfrm>
            <a:off x="2396985" y="7388178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r>
              <a:rPr lang="es-CL" sz="1500" kern="0" dirty="0">
                <a:solidFill>
                  <a:schemeClr val="tx1"/>
                </a:solidFill>
                <a:latin typeface="ACHS Nueva Sans Medium" pitchFamily="2" charset="77"/>
              </a:rPr>
              <a:t>Para limpiar o cambiar de alguna de sus partes, desconectar el enchuf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004B54"/>
              </a:buClr>
              <a:buSzPct val="100000"/>
              <a:buNone/>
            </a:pPr>
            <a:endParaRPr lang="es-CL" sz="15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1" name="Marcador de texto 31">
            <a:extLst>
              <a:ext uri="{FF2B5EF4-FFF2-40B4-BE49-F238E27FC236}">
                <a16:creationId xmlns="" xmlns:a16="http://schemas.microsoft.com/office/drawing/2014/main" id="{DCE61CD8-5624-574F-97C1-8860E1C8519E}"/>
              </a:ext>
            </a:extLst>
          </p:cNvPr>
          <p:cNvSpPr txBox="1">
            <a:spLocks/>
          </p:cNvSpPr>
          <p:nvPr/>
        </p:nvSpPr>
        <p:spPr>
          <a:xfrm>
            <a:off x="10523340" y="7140697"/>
            <a:ext cx="4640617" cy="1278294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R="0" indent="0" algn="ctr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16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CL" sz="1500" dirty="0">
                <a:solidFill>
                  <a:schemeClr val="tx1"/>
                </a:solidFill>
                <a:latin typeface="ACHS Nueva Sans Medium" pitchFamily="2" charset="77"/>
              </a:rPr>
              <a:t>Mantener un programa periódico de mantención de herramientas.</a:t>
            </a:r>
          </a:p>
        </p:txBody>
      </p:sp>
      <p:pic>
        <p:nvPicPr>
          <p:cNvPr id="42" name="Imagen 5">
            <a:extLst>
              <a:ext uri="{FF2B5EF4-FFF2-40B4-BE49-F238E27FC236}">
                <a16:creationId xmlns="" xmlns:a16="http://schemas.microsoft.com/office/drawing/2014/main" id="{F049D76D-023C-884B-B178-B325F94AEF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43" name="Conector recto 6">
            <a:extLst>
              <a:ext uri="{FF2B5EF4-FFF2-40B4-BE49-F238E27FC236}">
                <a16:creationId xmlns="" xmlns:a16="http://schemas.microsoft.com/office/drawing/2014/main" id="{05A469E3-0A9A-1945-BADD-32C8B3A36E96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D493BBE3-DECA-2C47-8AF3-6CEE4025DD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2" y="0"/>
            <a:ext cx="15996358" cy="9001125"/>
          </a:xfrm>
          <a:prstGeom prst="rect">
            <a:avLst/>
          </a:prstGeom>
        </p:spPr>
      </p:pic>
      <p:sp>
        <p:nvSpPr>
          <p:cNvPr id="17" name="Título 30">
            <a:extLst>
              <a:ext uri="{FF2B5EF4-FFF2-40B4-BE49-F238E27FC236}">
                <a16:creationId xmlns="" xmlns:a16="http://schemas.microsoft.com/office/drawing/2014/main" id="{F125EB0B-0A45-4842-979C-C0AE70176728}"/>
              </a:ext>
            </a:extLst>
          </p:cNvPr>
          <p:cNvSpPr txBox="1">
            <a:spLocks/>
          </p:cNvSpPr>
          <p:nvPr/>
        </p:nvSpPr>
        <p:spPr>
          <a:xfrm>
            <a:off x="721168" y="699478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 smtClean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Consideraciones generales</a:t>
            </a:r>
            <a:endParaRPr lang="es-ES" sz="2600" dirty="0">
              <a:solidFill>
                <a:srgbClr val="15C047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72106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1956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8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2">
            <a:extLst>
              <a:ext uri="{FF2B5EF4-FFF2-40B4-BE49-F238E27FC236}">
                <a16:creationId xmlns="" xmlns:a16="http://schemas.microsoft.com/office/drawing/2014/main" id="{ADB3C4B3-C0EA-704C-B5A5-C6132610B70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7829"/>
          <a:stretch/>
        </p:blipFill>
        <p:spPr>
          <a:xfrm>
            <a:off x="7894789" y="1188194"/>
            <a:ext cx="8107211" cy="7396305"/>
          </a:xfrm>
          <a:prstGeom prst="rect">
            <a:avLst/>
          </a:prstGeom>
        </p:spPr>
      </p:pic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BCFE5049-86C1-D645-B1FE-2853B61B3E8D}"/>
              </a:ext>
            </a:extLst>
          </p:cNvPr>
          <p:cNvSpPr txBox="1">
            <a:spLocks/>
          </p:cNvSpPr>
          <p:nvPr/>
        </p:nvSpPr>
        <p:spPr>
          <a:xfrm>
            <a:off x="712793" y="677910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xtensiones eléctricas</a:t>
            </a:r>
          </a:p>
        </p:txBody>
      </p:sp>
      <p:sp>
        <p:nvSpPr>
          <p:cNvPr id="12" name="Marcador de texto 31">
            <a:extLst>
              <a:ext uri="{FF2B5EF4-FFF2-40B4-BE49-F238E27FC236}">
                <a16:creationId xmlns="" xmlns:a16="http://schemas.microsoft.com/office/drawing/2014/main" id="{35EF3EAD-C6B5-B34F-AAA2-39FC6065CDB5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6771731" cy="6264696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R="0" indent="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B54"/>
              </a:buClr>
              <a:buSzPct val="100000"/>
              <a:buFontTx/>
              <a:buNone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e deben instalar por vía aérea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Evitar uniones, ya que pueden producir fugas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          de corrientes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 es posible, utilizar un cable nuevo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empre debe utilizar extensiones eléctricas, que tengan su cubierta de aislación en buen estado, sin cortes, sin exceso de uniones, entre otras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No tirar ni arrastrar la extensión con herramientas, ni nada que pueda producir el corte de ésta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Siempre instalar a la extensión, enchufes o toma corrientes, de tipo industrial y no domiciliario.</a:t>
            </a: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marL="342900" indent="-342900" algn="l">
              <a:lnSpc>
                <a:spcPct val="100000"/>
              </a:lnSpc>
              <a:buClr>
                <a:srgbClr val="12BF45"/>
              </a:buClr>
              <a:buFont typeface="Arial" panose="020B0604020202020204" pitchFamily="34" charset="0"/>
              <a:buChar char="•"/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Las uniones eléctricas deben ser protegidas con cinta aislante para recuperar la aislación original del conductor y evitar el choque eléctrico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6EEB6B97-3601-B345-B2E2-60D816BC7833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FFD54ABE-2AAA-184C-BE08-FF4BBFB064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18624ED3-8345-7C4B-923C-80A445113069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768577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791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31">
            <a:extLst>
              <a:ext uri="{FF2B5EF4-FFF2-40B4-BE49-F238E27FC236}">
                <a16:creationId xmlns="" xmlns:a16="http://schemas.microsoft.com/office/drawing/2014/main" id="{1E2B6BEC-378F-E34B-ABE5-54BFA0D939CD}"/>
              </a:ext>
            </a:extLst>
          </p:cNvPr>
          <p:cNvSpPr txBox="1">
            <a:spLocks/>
          </p:cNvSpPr>
          <p:nvPr/>
        </p:nvSpPr>
        <p:spPr>
          <a:xfrm>
            <a:off x="746124" y="1819430"/>
            <a:ext cx="6769100" cy="6264696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s-CL"/>
            </a:defPPr>
            <a:lvl1pPr marL="342900" marR="0" indent="-342900" algn="just" defTabSz="159735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B827"/>
              </a:buClr>
              <a:buSzPct val="100000"/>
              <a:buFont typeface="Arial" panose="020B0604020202020204" pitchFamily="34" charset="0"/>
              <a:buChar char="•"/>
              <a:tabLst/>
              <a:defRPr sz="2200" b="0" i="0" u="none" strike="noStrike" kern="0" cap="none" spc="0" baseline="0">
                <a:solidFill>
                  <a:srgbClr val="8A8A8A">
                    <a:lumMod val="75000"/>
                  </a:srgbClr>
                </a:solidFill>
                <a:uFillTx/>
                <a:latin typeface="Arial"/>
                <a:ea typeface="Arial"/>
                <a:cs typeface="Arial"/>
              </a:defRPr>
            </a:lvl1pPr>
            <a:lvl2pPr marL="1465196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2pPr>
            <a:lvl3pPr marL="1864794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3pPr>
            <a:lvl4pPr marL="2264393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4pPr>
            <a:lvl5pPr marL="2663992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5pPr>
            <a:lvl6pPr marL="2963690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6pPr>
            <a:lvl7pPr marL="32633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7pPr>
            <a:lvl8pPr marL="3563089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8pPr>
            <a:lvl9pPr marL="3862787" marR="0" indent="-1065596" defTabSz="1597354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</a:defRPr>
            </a:lvl9pPr>
          </a:lstStyle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No instalar extensiones eléctricas en sector donde quede en contacto con agua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Para conectarla primero se debe enchufar la herramienta a la extensión y luego la extensión a la fuente de energía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Al finalizar su uso, desconectar la extensión de la fuente de energía y luego desconectar la herramienta que se        estaba utilizando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Desconectar desde el enchufe sin tirar el cable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Cuando se conecten herramientas manuales eléctricas, utilizar una extensión que posea línea a tierra                                   de protección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solidFill>
                  <a:srgbClr val="000000"/>
                </a:solidFill>
                <a:latin typeface="ACHS Nueva Sans Medium" pitchFamily="2" charset="77"/>
              </a:rPr>
              <a:t>Verificar que la capacidad de corriente de los conductores eléctricos o cables sea mayor a la máxima carga a alimentar del artefacto a conectar, para evitar recalentamiento del conductor.</a:t>
            </a: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  <a:p>
            <a:pPr algn="l">
              <a:lnSpc>
                <a:spcPct val="100000"/>
              </a:lnSpc>
              <a:buClr>
                <a:srgbClr val="12BF45"/>
              </a:buClr>
            </a:pPr>
            <a:endParaRPr lang="es-CL" sz="1800" dirty="0">
              <a:solidFill>
                <a:srgbClr val="000000"/>
              </a:solidFill>
              <a:latin typeface="ACHS Nueva Sans Medium" pitchFamily="2" charset="77"/>
            </a:endParaRPr>
          </a:p>
        </p:txBody>
      </p:sp>
      <p:pic>
        <p:nvPicPr>
          <p:cNvPr id="11" name="Imagen 1">
            <a:extLst>
              <a:ext uri="{FF2B5EF4-FFF2-40B4-BE49-F238E27FC236}">
                <a16:creationId xmlns="" xmlns:a16="http://schemas.microsoft.com/office/drawing/2014/main" id="{8396E3D0-7E87-ED44-A13E-5C905AA556E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0265"/>
          <a:stretch/>
        </p:blipFill>
        <p:spPr>
          <a:xfrm>
            <a:off x="7921969" y="923982"/>
            <a:ext cx="8116910" cy="8077143"/>
          </a:xfrm>
          <a:prstGeom prst="rect">
            <a:avLst/>
          </a:prstGeom>
        </p:spPr>
      </p:pic>
      <p:sp>
        <p:nvSpPr>
          <p:cNvPr id="12" name="Título 30">
            <a:extLst>
              <a:ext uri="{FF2B5EF4-FFF2-40B4-BE49-F238E27FC236}">
                <a16:creationId xmlns="" xmlns:a16="http://schemas.microsoft.com/office/drawing/2014/main" id="{451214FB-011E-DB47-BDB3-1B37B35055C8}"/>
              </a:ext>
            </a:extLst>
          </p:cNvPr>
          <p:cNvSpPr txBox="1">
            <a:spLocks/>
          </p:cNvSpPr>
          <p:nvPr/>
        </p:nvSpPr>
        <p:spPr>
          <a:xfrm>
            <a:off x="712793" y="677910"/>
            <a:ext cx="7389420" cy="720080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xtensiones eléctricas</a:t>
            </a:r>
          </a:p>
        </p:txBody>
      </p:sp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549DB393-B5CE-4444-8112-4ADE54EE872E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D2B1D03B-D7A4-394F-8AC1-2F26145EAC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F038266C-BFAB-2047-AEEB-8D277F34C74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8159743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000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8">
            <a:extLst>
              <a:ext uri="{FF2B5EF4-FFF2-40B4-BE49-F238E27FC236}">
                <a16:creationId xmlns="" xmlns:a16="http://schemas.microsoft.com/office/drawing/2014/main" id="{F9E7E927-BB57-A947-BB2F-8C501CEBA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3" name="Marcador de texto 5">
            <a:extLst>
              <a:ext uri="{FF2B5EF4-FFF2-40B4-BE49-F238E27FC236}">
                <a16:creationId xmlns="" xmlns:a16="http://schemas.microsoft.com/office/drawing/2014/main" id="{58872548-29BD-6640-B38D-55DBA584A610}"/>
              </a:ext>
            </a:extLst>
          </p:cNvPr>
          <p:cNvSpPr txBox="1">
            <a:spLocks/>
          </p:cNvSpPr>
          <p:nvPr/>
        </p:nvSpPr>
        <p:spPr>
          <a:xfrm>
            <a:off x="809456" y="2206517"/>
            <a:ext cx="7479575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Los incidentes más frecuentes asociados a su uso son:</a:t>
            </a:r>
          </a:p>
        </p:txBody>
      </p:sp>
      <p:sp>
        <p:nvSpPr>
          <p:cNvPr id="16" name="Título 30">
            <a:extLst>
              <a:ext uri="{FF2B5EF4-FFF2-40B4-BE49-F238E27FC236}">
                <a16:creationId xmlns="" xmlns:a16="http://schemas.microsoft.com/office/drawing/2014/main" id="{F7F15AD4-71D1-AA4C-8716-BF3B1F702DA0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7" name="Imagen 5">
            <a:extLst>
              <a:ext uri="{FF2B5EF4-FFF2-40B4-BE49-F238E27FC236}">
                <a16:creationId xmlns="" xmlns:a16="http://schemas.microsoft.com/office/drawing/2014/main" id="{EAC0E6B6-0073-CC43-A639-F828F0BF72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23" name="Conector recto 6">
            <a:extLst>
              <a:ext uri="{FF2B5EF4-FFF2-40B4-BE49-F238E27FC236}">
                <a16:creationId xmlns="" xmlns:a16="http://schemas.microsoft.com/office/drawing/2014/main" id="{8FF27469-09E6-1A4F-ABA2-004C15131D3B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Marcador de texto 31">
            <a:extLst>
              <a:ext uri="{FF2B5EF4-FFF2-40B4-BE49-F238E27FC236}">
                <a16:creationId xmlns="" xmlns:a16="http://schemas.microsoft.com/office/drawing/2014/main" id="{A607EF09-4C46-F04D-950B-7672558E557A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399455" cy="5604117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ortes, abrasiones, contactos y/o atrapamientos con los elementos móviles de la máquina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Proyección de partículas del material trabajado o fragmentos por rotura de la herramienta (disco, etc.)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Sobreesfuerzos y tensiones postural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Inhalación de polvo procedente del material o de la herramienta utilizada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aídas de altura en ausencia de proteccion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Exposición a ruido y vibracione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  <a:buFont typeface="Arial" panose="020B0604020202020204" pitchFamily="34" charset="0"/>
              <a:buChar char="•"/>
            </a:pPr>
            <a:r>
              <a:rPr lang="es-CL" sz="1800" dirty="0">
                <a:latin typeface="ACHS Nueva Sans Medium" pitchFamily="2" charset="77"/>
                <a:cs typeface="Catamaran Light" panose="00000400000000000000" pitchFamily="2" charset="0"/>
              </a:rPr>
              <a:t>Contactos eléctricos.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 smtClean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  <a:endParaRPr lang="es-CL" sz="2600" dirty="0">
              <a:solidFill>
                <a:srgbClr val="12BF45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81586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5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18">
            <a:extLst>
              <a:ext uri="{FF2B5EF4-FFF2-40B4-BE49-F238E27FC236}">
                <a16:creationId xmlns="" xmlns:a16="http://schemas.microsoft.com/office/drawing/2014/main" id="{B65AD2ED-32B9-814C-BB6D-EB6AC3FE75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4" name="Título 30">
            <a:extLst>
              <a:ext uri="{FF2B5EF4-FFF2-40B4-BE49-F238E27FC236}">
                <a16:creationId xmlns="" xmlns:a16="http://schemas.microsoft.com/office/drawing/2014/main" id="{3B2E6DB4-DC51-284D-A7AB-1ADDB42FFDC6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6" name="Imagen 5">
            <a:extLst>
              <a:ext uri="{FF2B5EF4-FFF2-40B4-BE49-F238E27FC236}">
                <a16:creationId xmlns="" xmlns:a16="http://schemas.microsoft.com/office/drawing/2014/main" id="{55F85530-32F0-BF47-B521-99B7FF3D2F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7" name="Conector recto 6">
            <a:extLst>
              <a:ext uri="{FF2B5EF4-FFF2-40B4-BE49-F238E27FC236}">
                <a16:creationId xmlns="" xmlns:a16="http://schemas.microsoft.com/office/drawing/2014/main" id="{E40C0332-BB62-D54A-A1D8-4CCB019951BD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9F089C58-D56B-1A48-91EF-31262FFFCAA8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  <p:sp>
        <p:nvSpPr>
          <p:cNvPr id="22" name="Marcador de texto 31">
            <a:extLst>
              <a:ext uri="{FF2B5EF4-FFF2-40B4-BE49-F238E27FC236}">
                <a16:creationId xmlns="" xmlns:a16="http://schemas.microsoft.com/office/drawing/2014/main" id="{B6F504DF-5FDF-094E-8B9D-E68EACE92B4C}"/>
              </a:ext>
            </a:extLst>
          </p:cNvPr>
          <p:cNvSpPr txBox="1">
            <a:spLocks/>
          </p:cNvSpPr>
          <p:nvPr/>
        </p:nvSpPr>
        <p:spPr>
          <a:xfrm>
            <a:off x="809457" y="2719098"/>
            <a:ext cx="6459585" cy="5467088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sea adecuado según el material</a:t>
            </a:r>
            <a:r>
              <a:rPr lang="es-CL" sz="1800" dirty="0">
                <a:solidFill>
                  <a:schemeClr val="bg1"/>
                </a:solidFill>
                <a:latin typeface="ACHS Nueva Sans Medium" pitchFamily="2" charset="77"/>
              </a:rPr>
              <a:t> a a </a:t>
            </a:r>
            <a:r>
              <a:rPr lang="es-CL" sz="1800" dirty="0">
                <a:solidFill>
                  <a:schemeClr val="tx1"/>
                </a:solidFill>
                <a:latin typeface="ACHS Nueva Sans Medium" pitchFamily="2" charset="77"/>
              </a:rPr>
              <a:t>a</a:t>
            </a:r>
            <a:r>
              <a:rPr lang="es-CL" sz="1800" dirty="0">
                <a:solidFill>
                  <a:schemeClr val="bg1"/>
                </a:solidFill>
                <a:latin typeface="ACHS Nueva Sans Medium" pitchFamily="2" charset="77"/>
              </a:rPr>
              <a:t> </a:t>
            </a:r>
            <a:r>
              <a:rPr lang="es-CL" sz="1800" dirty="0">
                <a:latin typeface="ACHS Nueva Sans Medium" pitchFamily="2" charset="77"/>
              </a:rPr>
              <a:t>utilizar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velocidad máxima de giro sea inferior a la velocidad máxima de giro de la herramienta,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golpear los discos, y no los almacene junto a         otras herramient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instalar el disco, utilizar la llave específica de apriete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Comprobar que el disco gira en el sentido correct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no se encuentre muy gastado.        ni agrietad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0" name="Título 30">
            <a:extLst>
              <a:ext uri="{FF2B5EF4-FFF2-40B4-BE49-F238E27FC236}">
                <a16:creationId xmlns="" xmlns:a16="http://schemas.microsoft.com/office/drawing/2014/main" id="{04A38422-E6A8-D741-A5F5-C4B6F8309D47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 smtClean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  <a:endParaRPr lang="es-CL" sz="2600" dirty="0">
              <a:solidFill>
                <a:srgbClr val="12BF45"/>
              </a:solidFill>
              <a:latin typeface="ACHS Nueva Sans Medium" pitchFamily="2" charset="77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348767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50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4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30">
            <a:extLst>
              <a:ext uri="{FF2B5EF4-FFF2-40B4-BE49-F238E27FC236}">
                <a16:creationId xmlns="" xmlns:a16="http://schemas.microsoft.com/office/drawing/2014/main" id="{6FA77A81-5B59-6A41-8D73-0D9293DC7385}"/>
              </a:ext>
            </a:extLst>
          </p:cNvPr>
          <p:cNvSpPr txBox="1">
            <a:spLocks/>
          </p:cNvSpPr>
          <p:nvPr/>
        </p:nvSpPr>
        <p:spPr>
          <a:xfrm>
            <a:off x="749326" y="814940"/>
            <a:ext cx="6519716" cy="60979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11999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7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Herramientas eléctricas:</a:t>
            </a:r>
            <a:b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</a:br>
            <a:r>
              <a:rPr lang="es-CL" sz="2600" dirty="0">
                <a:solidFill>
                  <a:srgbClr val="12BF45"/>
                </a:solidFill>
                <a:latin typeface="ACHS Nueva Sans Medium" pitchFamily="2" charset="77"/>
              </a:rPr>
              <a:t>Esmeril angular</a:t>
            </a:r>
          </a:p>
        </p:txBody>
      </p:sp>
      <p:pic>
        <p:nvPicPr>
          <p:cNvPr id="12" name="Imagen 18">
            <a:extLst>
              <a:ext uri="{FF2B5EF4-FFF2-40B4-BE49-F238E27FC236}">
                <a16:creationId xmlns="" xmlns:a16="http://schemas.microsoft.com/office/drawing/2014/main" id="{DBF4F2E9-0680-AE4D-9947-9F731EAB16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2637" y="1899011"/>
            <a:ext cx="8731553" cy="6922032"/>
          </a:xfrm>
          <a:prstGeom prst="rect">
            <a:avLst/>
          </a:prstGeom>
        </p:spPr>
      </p:pic>
      <p:sp>
        <p:nvSpPr>
          <p:cNvPr id="13" name="Título 30">
            <a:extLst>
              <a:ext uri="{FF2B5EF4-FFF2-40B4-BE49-F238E27FC236}">
                <a16:creationId xmlns="" xmlns:a16="http://schemas.microsoft.com/office/drawing/2014/main" id="{A7AD8C4D-9EE6-0541-9B68-1FEC957229CC}"/>
              </a:ext>
            </a:extLst>
          </p:cNvPr>
          <p:cNvSpPr txBox="1">
            <a:spLocks/>
          </p:cNvSpPr>
          <p:nvPr/>
        </p:nvSpPr>
        <p:spPr>
          <a:xfrm>
            <a:off x="721168" y="1260202"/>
            <a:ext cx="7200801" cy="72008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2400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14" name="Imagen 5">
            <a:extLst>
              <a:ext uri="{FF2B5EF4-FFF2-40B4-BE49-F238E27FC236}">
                <a16:creationId xmlns="" xmlns:a16="http://schemas.microsoft.com/office/drawing/2014/main" id="{02A5DC97-0EC9-E148-87FB-8E6C09AC32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3839" y="652050"/>
            <a:ext cx="1627018" cy="664668"/>
          </a:xfrm>
          <a:prstGeom prst="rect">
            <a:avLst/>
          </a:prstGeom>
        </p:spPr>
      </p:pic>
      <p:cxnSp>
        <p:nvCxnSpPr>
          <p:cNvPr id="16" name="Conector recto 6">
            <a:extLst>
              <a:ext uri="{FF2B5EF4-FFF2-40B4-BE49-F238E27FC236}">
                <a16:creationId xmlns="" xmlns:a16="http://schemas.microsoft.com/office/drawing/2014/main" id="{41A6CC3C-0EA4-E440-B6C4-56A18D5111D1}"/>
              </a:ext>
            </a:extLst>
          </p:cNvPr>
          <p:cNvCxnSpPr/>
          <p:nvPr/>
        </p:nvCxnSpPr>
        <p:spPr>
          <a:xfrm>
            <a:off x="671737" y="477225"/>
            <a:ext cx="2138199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085A523C-1B6E-B64A-BA36-A5E2DDC4C2C3}"/>
              </a:ext>
            </a:extLst>
          </p:cNvPr>
          <p:cNvSpPr txBox="1">
            <a:spLocks/>
          </p:cNvSpPr>
          <p:nvPr/>
        </p:nvSpPr>
        <p:spPr>
          <a:xfrm>
            <a:off x="809457" y="2719097"/>
            <a:ext cx="6399455" cy="5165841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el disco sea del diámetro recomendad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Verificar que la herramienta cuente con la protección del disc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Al trabaja cerca de otras personas, instalar pantallas o lonas que impidan proyección de partículas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No soltar la herramienta mientras siga en movimiento el disco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Si se trabaja sobre una pieza suelta, debe                                estar apoyada.</a:t>
            </a:r>
          </a:p>
          <a:p>
            <a:pPr>
              <a:lnSpc>
                <a:spcPct val="100000"/>
              </a:lnSpc>
              <a:buClr>
                <a:srgbClr val="12BF45"/>
              </a:buClr>
            </a:pPr>
            <a:r>
              <a:rPr lang="es-CL" sz="1800" dirty="0">
                <a:latin typeface="ACHS Nueva Sans Medium" pitchFamily="2" charset="77"/>
              </a:rPr>
              <a:t>Mantenga un extintor en el lugar de trabajo.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12BF45"/>
              </a:buClr>
              <a:buSzPct val="100000"/>
            </a:pPr>
            <a:endParaRPr lang="es-CL" sz="1800" kern="0" dirty="0">
              <a:latin typeface="ACHS Nueva Sans Medium" pitchFamily="2" charset="77"/>
            </a:endParaRPr>
          </a:p>
        </p:txBody>
      </p:sp>
      <p:sp>
        <p:nvSpPr>
          <p:cNvPr id="19" name="Marcador de texto 5">
            <a:extLst>
              <a:ext uri="{FF2B5EF4-FFF2-40B4-BE49-F238E27FC236}">
                <a16:creationId xmlns="" xmlns:a16="http://schemas.microsoft.com/office/drawing/2014/main" id="{D2D2B00C-A74E-094F-B675-23F8DD0478E0}"/>
              </a:ext>
            </a:extLst>
          </p:cNvPr>
          <p:cNvSpPr txBox="1">
            <a:spLocks/>
          </p:cNvSpPr>
          <p:nvPr/>
        </p:nvSpPr>
        <p:spPr>
          <a:xfrm>
            <a:off x="809457" y="2214989"/>
            <a:ext cx="592444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Tx/>
              <a:buNone/>
            </a:pPr>
            <a:r>
              <a:rPr lang="es-CL" sz="2200" kern="0" dirty="0">
                <a:solidFill>
                  <a:srgbClr val="12BF45"/>
                </a:solidFill>
                <a:latin typeface="ACHS Nueva Serif" pitchFamily="2" charset="77"/>
              </a:rPr>
              <a:t>Medidas preventiv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53399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DESIGN_ID_1_CUSTOM DESIGN" val="y7A4ub8C"/>
  <p:tag name="ARTICULATE_SLIDE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Quie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2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6D8931-DC0D-40CC-BC2A-F5328FC155F1}">
  <ds:schemaRefs>
    <ds:schemaRef ds:uri="http://schemas.microsoft.com/office/2006/documentManagement/types"/>
    <ds:schemaRef ds:uri="http://schemas.microsoft.com/office/infopath/2007/PartnerControls"/>
    <ds:schemaRef ds:uri="76aaf195-cc62-486d-835e-a1a076b740bc"/>
    <ds:schemaRef ds:uri="http://purl.org/dc/elements/1.1/"/>
    <ds:schemaRef ds:uri="http://schemas.microsoft.com/office/2006/metadata/properties"/>
    <ds:schemaRef ds:uri="http://purl.org/dc/terms/"/>
    <ds:schemaRef ds:uri="c16ff6dc-b593-43ff-bcca-b847aaf00eec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4E94521-6097-4424-AA83-67EC00D205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4F5EC1-E55B-4461-9A9B-FEA7D13DB682}"/>
</file>

<file path=docProps/app.xml><?xml version="1.0" encoding="utf-8"?>
<Properties xmlns="http://schemas.openxmlformats.org/officeDocument/2006/extended-properties" xmlns:vt="http://schemas.openxmlformats.org/officeDocument/2006/docPropsVTypes">
  <TotalTime>17342</TotalTime>
  <Words>2177</Words>
  <Application>Microsoft Office PowerPoint</Application>
  <PresentationFormat>Personalizado</PresentationFormat>
  <Paragraphs>314</Paragraphs>
  <Slides>29</Slides>
  <Notes>26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49" baseType="lpstr">
      <vt:lpstr>.Lucida Grande UI Regular</vt:lpstr>
      <vt:lpstr>ACHS Nueva Sans Medium</vt:lpstr>
      <vt:lpstr>ACHS Nueva Sans SemiBold</vt:lpstr>
      <vt:lpstr>ACHS Nueva Serif</vt:lpstr>
      <vt:lpstr>Arial</vt:lpstr>
      <vt:lpstr>Barlow Regular</vt:lpstr>
      <vt:lpstr>Calibri</vt:lpstr>
      <vt:lpstr>Calibri Light</vt:lpstr>
      <vt:lpstr>Catamaran Light</vt:lpstr>
      <vt:lpstr>Helvetica Neue</vt:lpstr>
      <vt:lpstr>Helvetica Neue Medium</vt:lpstr>
      <vt:lpstr>Tipo de letra del sistema regular</vt:lpstr>
      <vt:lpstr>Tw Cen MT</vt:lpstr>
      <vt:lpstr>Wingdings</vt:lpstr>
      <vt:lpstr>Quieta</vt:lpstr>
      <vt:lpstr>1_Custom Design</vt:lpstr>
      <vt:lpstr>Office Theme</vt:lpstr>
      <vt:lpstr>22_Tema de Office</vt:lpstr>
      <vt:lpstr>2_Tema de Office</vt:lpstr>
      <vt:lpstr>Diapositiva de think-cell</vt:lpstr>
      <vt:lpstr>Presentación de PowerPoint</vt:lpstr>
      <vt:lpstr>.</vt:lpstr>
      <vt:lpstr>.</vt:lpstr>
      <vt:lpstr>.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slie</dc:creator>
  <cp:lastModifiedBy>Saldaño Carreño, Carlos Antonio</cp:lastModifiedBy>
  <cp:revision>529</cp:revision>
  <dcterms:created xsi:type="dcterms:W3CDTF">2018-04-16T12:09:27Z</dcterms:created>
  <dcterms:modified xsi:type="dcterms:W3CDTF">2025-01-22T20:3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31455266-B70E-45FE-8116-329E369CB90B</vt:lpwstr>
  </property>
  <property fmtid="{D5CDD505-2E9C-101B-9397-08002B2CF9AE}" pid="4" name="ArticulatePath">
    <vt:lpwstr>Charla_AM_Manejo_seguro_de_herramientas_eléctricas</vt:lpwstr>
  </property>
  <property fmtid="{D5CDD505-2E9C-101B-9397-08002B2CF9AE}" pid="5" name="MediaServiceImageTags">
    <vt:lpwstr/>
  </property>
</Properties>
</file>